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media/image10.JPG" ContentType="image/jpeg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"/>
    <p:sldMasterId id="2147483700" r:id="rId2"/>
  </p:sldMasterIdLst>
  <p:notesMasterIdLst>
    <p:notesMasterId r:id="rId29"/>
  </p:notesMasterIdLst>
  <p:sldIdLst>
    <p:sldId id="257" r:id="rId3"/>
    <p:sldId id="565" r:id="rId4"/>
    <p:sldId id="559" r:id="rId5"/>
    <p:sldId id="531" r:id="rId6"/>
    <p:sldId id="551" r:id="rId7"/>
    <p:sldId id="552" r:id="rId8"/>
    <p:sldId id="554" r:id="rId9"/>
    <p:sldId id="553" r:id="rId10"/>
    <p:sldId id="555" r:id="rId11"/>
    <p:sldId id="560" r:id="rId12"/>
    <p:sldId id="566" r:id="rId13"/>
    <p:sldId id="561" r:id="rId14"/>
    <p:sldId id="564" r:id="rId15"/>
    <p:sldId id="558" r:id="rId16"/>
    <p:sldId id="563" r:id="rId17"/>
    <p:sldId id="567" r:id="rId18"/>
    <p:sldId id="568" r:id="rId19"/>
    <p:sldId id="569" r:id="rId20"/>
    <p:sldId id="570" r:id="rId21"/>
    <p:sldId id="571" r:id="rId22"/>
    <p:sldId id="572" r:id="rId23"/>
    <p:sldId id="573" r:id="rId24"/>
    <p:sldId id="574" r:id="rId25"/>
    <p:sldId id="575" r:id="rId26"/>
    <p:sldId id="576" r:id="rId27"/>
    <p:sldId id="577" r:id="rId28"/>
  </p:sldIdLst>
  <p:sldSz cx="9144000" cy="5143500" type="screen16x9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icham Zmarrou" initials="HZ" lastIdx="1" clrIdx="0">
    <p:extLst>
      <p:ext uri="{19B8F6BF-5375-455C-9EA6-DF929625EA0E}">
        <p15:presenceInfo xmlns:p15="http://schemas.microsoft.com/office/powerpoint/2012/main" userId="S::hicham.zmarrou@nl.abnamro.com::7060dbb5-aa2c-43ef-b53c-d01998cc72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84CBC5"/>
    <a:srgbClr val="79838C"/>
    <a:srgbClr val="1768A3"/>
    <a:srgbClr val="F3C000"/>
    <a:srgbClr val="FFFFFF"/>
    <a:srgbClr val="FFF4CA"/>
    <a:srgbClr val="D9DCDF"/>
    <a:srgbClr val="009286"/>
    <a:srgbClr val="6C5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488" autoAdjust="0"/>
    <p:restoredTop sz="88802" autoAdjust="0"/>
  </p:normalViewPr>
  <p:slideViewPr>
    <p:cSldViewPr showGuides="1">
      <p:cViewPr varScale="1">
        <p:scale>
          <a:sx n="80" d="100"/>
          <a:sy n="80" d="100"/>
        </p:scale>
        <p:origin x="876" y="72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8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2654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508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1246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6305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910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53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390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846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ondly, we need to be careful not to reveal too much commercially sensitive information when we provide an explanation to a client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268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9599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261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604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AAC69F-B662-4A68-BF84-1E6CAAB30CA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113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2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6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29/08/2020</a:t>
            </a:fld>
            <a:endParaRPr lang="id-ID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gray">
          <a:xfrm>
            <a:off x="2305033" y="4783646"/>
            <a:ext cx="6478333" cy="140400"/>
          </a:xfrm>
          <a:prstGeom prst="rect">
            <a:avLst/>
          </a:prstGeom>
          <a:solidFill>
            <a:srgbClr val="00928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ight Triangle 18"/>
          <p:cNvSpPr>
            <a:spLocks noChangeAspect="1"/>
          </p:cNvSpPr>
          <p:nvPr/>
        </p:nvSpPr>
        <p:spPr bwMode="ltGray">
          <a:xfrm flipH="1">
            <a:off x="8657039" y="4783432"/>
            <a:ext cx="127678" cy="140400"/>
          </a:xfrm>
          <a:prstGeom prst="rtTriangle">
            <a:avLst/>
          </a:prstGeom>
          <a:solidFill>
            <a:srgbClr val="005E5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64401" y="44384"/>
            <a:ext cx="8318966" cy="508000"/>
          </a:xfrm>
          <a:noFill/>
        </p:spPr>
        <p:txBody>
          <a:bodyPr tIns="0" rIns="0" bIns="0" anchor="ctr" anchorCtr="0"/>
          <a:lstStyle>
            <a:lvl1pPr>
              <a:lnSpc>
                <a:spcPts val="2000"/>
              </a:lnSpc>
              <a:defRPr sz="1800">
                <a:solidFill>
                  <a:srgbClr val="00928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 userDrawn="1">
            <p:ph idx="1"/>
          </p:nvPr>
        </p:nvSpPr>
        <p:spPr>
          <a:xfrm>
            <a:off x="464401" y="839073"/>
            <a:ext cx="8318966" cy="3660815"/>
          </a:xfrm>
        </p:spPr>
        <p:txBody>
          <a:bodyPr tIns="0" bIns="0"/>
          <a:lstStyle>
            <a:lvl1pPr>
              <a:defRPr sz="1400" b="0">
                <a:solidFill>
                  <a:srgbClr val="54646C"/>
                </a:solidFill>
              </a:defRPr>
            </a:lvl1pPr>
            <a:lvl2pPr>
              <a:defRPr sz="1400" b="0">
                <a:solidFill>
                  <a:srgbClr val="54646C"/>
                </a:solidFill>
              </a:defRPr>
            </a:lvl2pPr>
            <a:lvl3pPr>
              <a:defRPr sz="1400" b="0">
                <a:solidFill>
                  <a:srgbClr val="54646C"/>
                </a:solidFill>
              </a:defRPr>
            </a:lvl3pPr>
            <a:lvl4pPr>
              <a:defRPr sz="1400" b="0">
                <a:solidFill>
                  <a:srgbClr val="54646C"/>
                </a:solidFill>
              </a:defRPr>
            </a:lvl4pPr>
            <a:lvl5pPr>
              <a:defRPr sz="1400" b="0">
                <a:solidFill>
                  <a:srgbClr val="54646C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 userDrawn="1">
            <p:ph type="sldNum" sz="quarter" idx="10"/>
          </p:nvPr>
        </p:nvSpPr>
        <p:spPr bwMode="white">
          <a:xfrm>
            <a:off x="7978071" y="4783482"/>
            <a:ext cx="650235" cy="140400"/>
          </a:xfrm>
        </p:spPr>
        <p:txBody>
          <a:bodyPr/>
          <a:lstStyle>
            <a:lvl1pPr>
              <a:lnSpc>
                <a:spcPts val="1106"/>
              </a:lnSpc>
              <a:defRPr b="1">
                <a:solidFill>
                  <a:srgbClr val="FFFFFF"/>
                </a:solidFill>
              </a:defRPr>
            </a:lvl1pPr>
          </a:lstStyle>
          <a:p>
            <a:fld id="{C23ADB4E-9B09-45A2-A801-D3601615BFC8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36115" y="397886"/>
            <a:ext cx="8347251" cy="210403"/>
            <a:chOff x="472458" y="532263"/>
            <a:chExt cx="8886288" cy="280537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Straight Connector 1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827943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>
                <a:solidFill>
                  <a:srgbClr val="009286"/>
                </a:solidFill>
              </a:rPr>
              <a:t>Icons</a:t>
            </a:r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>
                <a:solidFill>
                  <a:srgbClr val="009286"/>
                </a:solidFill>
              </a:rPr>
              <a:t>Icons</a:t>
            </a:r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8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004C4C"/>
              </a:solidFill>
            </a:endParaRPr>
          </a:p>
        </p:txBody>
      </p:sp>
      <p:pic>
        <p:nvPicPr>
          <p:cNvPr id="7" name="Afbeelding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75" y="4759200"/>
            <a:ext cx="1092087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pic>
        <p:nvPicPr>
          <p:cNvPr id="11" name="Afbeelding 1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75" y="4759200"/>
            <a:ext cx="1092087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32" r:id="rId30"/>
    <p:sldLayoutId id="2147483782" r:id="rId31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VioletaMisheva/XAI_workshop_ODSC2020" TargetMode="Externa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VioletaMisheva" TargetMode="Externa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ltGray">
          <a:xfrm>
            <a:off x="0" y="828304"/>
            <a:ext cx="9144000" cy="1380507"/>
          </a:xfrm>
          <a:prstGeom prst="rect">
            <a:avLst/>
          </a:prstGeom>
          <a:solidFill>
            <a:srgbClr val="BBBE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25" tIns="38963" rIns="77925" bIns="38963" numCol="1" rtlCol="0" anchor="t" anchorCtr="0" compatLnSpc="1">
            <a:prstTxWarp prst="textNoShape">
              <a:avLst/>
            </a:prstTxWarp>
          </a:bodyPr>
          <a:lstStyle/>
          <a:p>
            <a:pPr defTabSz="888834"/>
            <a:endParaRPr lang="en-GB" sz="1500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0" y="1460268"/>
            <a:ext cx="7180002" cy="1147550"/>
            <a:chOff x="2" y="2002488"/>
            <a:chExt cx="7778336" cy="1530067"/>
          </a:xfrm>
        </p:grpSpPr>
        <p:sp>
          <p:nvSpPr>
            <p:cNvPr id="11" name="Snip Single Corner Rectangle 10"/>
            <p:cNvSpPr/>
            <p:nvPr/>
          </p:nvSpPr>
          <p:spPr bwMode="gray">
            <a:xfrm>
              <a:off x="2121" y="2002555"/>
              <a:ext cx="7776217" cy="1530000"/>
            </a:xfrm>
            <a:prstGeom prst="snip1Rect">
              <a:avLst>
                <a:gd name="adj" fmla="val 27917"/>
              </a:avLst>
            </a:prstGeom>
            <a:gradFill>
              <a:gsLst>
                <a:gs pos="0">
                  <a:srgbClr val="009286">
                    <a:alpha val="90000"/>
                  </a:srgbClr>
                </a:gs>
                <a:gs pos="80000">
                  <a:srgbClr val="009286">
                    <a:alpha val="90000"/>
                  </a:srgbClr>
                </a:gs>
                <a:gs pos="100000">
                  <a:srgbClr val="005E5D">
                    <a:alpha val="90000"/>
                  </a:srgb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888834"/>
              <a:endParaRPr lang="en-GB" sz="1500" dirty="0"/>
            </a:p>
          </p:txBody>
        </p:sp>
        <p:sp>
          <p:nvSpPr>
            <p:cNvPr id="12" name="Snip Single Corner Rectangle 11"/>
            <p:cNvSpPr/>
            <p:nvPr/>
          </p:nvSpPr>
          <p:spPr bwMode="gray">
            <a:xfrm>
              <a:off x="2" y="2002488"/>
              <a:ext cx="7612656" cy="450000"/>
            </a:xfrm>
            <a:prstGeom prst="snip1Rect">
              <a:avLst>
                <a:gd name="adj" fmla="val 50000"/>
              </a:avLst>
            </a:prstGeom>
            <a:gradFill>
              <a:gsLst>
                <a:gs pos="0">
                  <a:srgbClr val="006480">
                    <a:alpha val="90000"/>
                  </a:srgbClr>
                </a:gs>
                <a:gs pos="80000">
                  <a:srgbClr val="006480">
                    <a:alpha val="90000"/>
                  </a:srgbClr>
                </a:gs>
                <a:gs pos="100000">
                  <a:srgbClr val="006480">
                    <a:alpha val="0"/>
                  </a:srgbClr>
                </a:gs>
              </a:gsLst>
              <a:lin ang="6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888834"/>
              <a:endParaRPr lang="en-GB" sz="1500" dirty="0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CD206-4E31-46F3-AF58-15652DD6C3F6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3" name="Rectangle 48"/>
          <p:cNvSpPr txBox="1">
            <a:spLocks noChangeArrowheads="1"/>
          </p:cNvSpPr>
          <p:nvPr/>
        </p:nvSpPr>
        <p:spPr bwMode="white">
          <a:xfrm>
            <a:off x="523212" y="2011635"/>
            <a:ext cx="6656790" cy="4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57776" rtl="0" eaLnBrk="1" fontAlgn="base" hangingPunct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19847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839694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259540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679387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ts val="3409"/>
              </a:lnSpc>
            </a:pPr>
            <a:r>
              <a:rPr lang="en-GB" sz="2800" b="1" kern="0" dirty="0">
                <a:latin typeface="Univers 57 Condensed" panose="00000400000000000000" pitchFamily="2" charset="0"/>
              </a:rPr>
              <a:t>Explainable ML: Application of different approaches</a:t>
            </a:r>
            <a:endParaRPr lang="en-GB" sz="2800" kern="0" dirty="0">
              <a:latin typeface="Univers 57 Condensed" panose="00000400000000000000" pitchFamily="2" charset="0"/>
            </a:endParaRPr>
          </a:p>
        </p:txBody>
      </p:sp>
      <p:sp>
        <p:nvSpPr>
          <p:cNvPr id="14" name="Rectangle 49"/>
          <p:cNvSpPr txBox="1">
            <a:spLocks noChangeArrowheads="1"/>
          </p:cNvSpPr>
          <p:nvPr/>
        </p:nvSpPr>
        <p:spPr bwMode="auto">
          <a:xfrm>
            <a:off x="511200" y="2772000"/>
            <a:ext cx="5523905" cy="659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0" bIns="36624" numCol="1" anchor="t" anchorCtr="0" compatLnSpc="1">
            <a:prstTxWarp prst="textNoShape">
              <a:avLst/>
            </a:prstTxWarp>
          </a:bodyPr>
          <a:lstStyle>
            <a:lvl1pPr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Wingdings 3" pitchFamily="18" charset="2"/>
              <a:defRPr sz="9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458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Wingdings 3" pitchFamily="18" charset="2"/>
              <a:defRPr sz="900">
                <a:solidFill>
                  <a:schemeClr val="hlink"/>
                </a:solidFill>
                <a:latin typeface="+mn-lt"/>
                <a:cs typeface="+mn-cs"/>
              </a:defRPr>
            </a:lvl2pPr>
            <a:lvl3pPr marL="244911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Wingdings 3" pitchFamily="18" charset="2"/>
              <a:buChar char="}"/>
              <a:defRPr sz="900">
                <a:solidFill>
                  <a:schemeClr val="hlink"/>
                </a:solidFill>
                <a:latin typeface="+mn-lt"/>
                <a:cs typeface="+mn-cs"/>
              </a:defRPr>
            </a:lvl3pPr>
            <a:lvl4pPr marL="500026" indent="-253657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4pPr>
            <a:lvl5pPr marL="743479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5pPr>
            <a:lvl6pPr marL="1163325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6pPr>
            <a:lvl7pPr marL="1583172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7pPr>
            <a:lvl8pPr marL="2003019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8pPr>
            <a:lvl9pPr marL="2422866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9pPr>
          </a:lstStyle>
          <a:p>
            <a:r>
              <a:rPr lang="en-GB" sz="1500" kern="0" dirty="0">
                <a:solidFill>
                  <a:srgbClr val="005E5D"/>
                </a:solidFill>
              </a:rPr>
              <a:t>Violeta Misheva</a:t>
            </a:r>
          </a:p>
          <a:p>
            <a:r>
              <a:rPr lang="en-GB" sz="1400" i="1" kern="0" dirty="0">
                <a:solidFill>
                  <a:srgbClr val="005E5D"/>
                </a:solidFill>
              </a:rPr>
              <a:t>Data scientist</a:t>
            </a:r>
          </a:p>
          <a:p>
            <a:r>
              <a:rPr lang="en-GB" sz="1400" i="1" kern="0" dirty="0">
                <a:solidFill>
                  <a:srgbClr val="005E5D"/>
                </a:solidFill>
              </a:rPr>
              <a:t>ABN </a:t>
            </a:r>
            <a:r>
              <a:rPr lang="en-GB" sz="1400" i="1" kern="0" dirty="0" err="1">
                <a:solidFill>
                  <a:srgbClr val="005E5D"/>
                </a:solidFill>
              </a:rPr>
              <a:t>Amro</a:t>
            </a:r>
            <a:r>
              <a:rPr lang="en-GB" sz="1400" i="1" kern="0" dirty="0">
                <a:solidFill>
                  <a:srgbClr val="005E5D"/>
                </a:solidFill>
              </a:rPr>
              <a:t> bank</a:t>
            </a:r>
            <a:endParaRPr lang="en-GB" sz="1500" i="1" kern="0" dirty="0">
              <a:solidFill>
                <a:srgbClr val="005E5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1"/>
            <a:ext cx="9144000" cy="82830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25" tIns="38963" rIns="77925" bIns="38963" numCol="1" rtlCol="0" anchor="t" anchorCtr="0" compatLnSpc="1">
            <a:prstTxWarp prst="textNoShape">
              <a:avLst/>
            </a:prstTxWarp>
          </a:bodyPr>
          <a:lstStyle/>
          <a:p>
            <a:pPr defTabSz="888834"/>
            <a:endParaRPr lang="en-GB" sz="15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Types of explanation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56200" y="771550"/>
            <a:ext cx="7819140" cy="3923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ts val="1400"/>
              <a:buNone/>
            </a:pP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pPr marL="457200" lvl="0" indent="-342900">
              <a:spcBef>
                <a:spcPts val="600"/>
              </a:spcBef>
              <a:buSzPts val="1800"/>
              <a:buFont typeface="Arial"/>
              <a:buChar char="•"/>
            </a:pPr>
            <a:r>
              <a:rPr lang="en-GB" sz="1800" u="sng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Intrinsic methods 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(restricting the complexity of the model) and </a:t>
            </a:r>
            <a:r>
              <a:rPr lang="en-GB" sz="1800" u="sng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post-hoc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 (after the model training)</a:t>
            </a:r>
          </a:p>
          <a:p>
            <a:pPr marL="457200" lvl="0" indent="-342900">
              <a:spcBef>
                <a:spcPts val="600"/>
              </a:spcBef>
              <a:buSzPts val="1800"/>
              <a:buFont typeface="Arial"/>
              <a:buChar char="•"/>
            </a:pPr>
            <a:r>
              <a:rPr lang="en-GB" sz="1800" u="sng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Model-specific 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(limited to specific classes of models) and </a:t>
            </a:r>
            <a:r>
              <a:rPr lang="en-GB" sz="1800" u="sng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model-agnostic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(can be used on any model)</a:t>
            </a:r>
          </a:p>
          <a:p>
            <a:pPr marL="457200" lvl="0" indent="-342900">
              <a:spcBef>
                <a:spcPts val="600"/>
              </a:spcBef>
              <a:buSzPts val="1800"/>
              <a:buFont typeface="Arial"/>
              <a:buChar char="•"/>
            </a:pPr>
            <a:r>
              <a:rPr lang="en-GB" sz="1800" u="sng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Local 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(explain an individual prediction) or </a:t>
            </a:r>
            <a:r>
              <a:rPr lang="en-GB" sz="1800" u="sng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global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(explain the whole model </a:t>
            </a:r>
            <a:r>
              <a:rPr lang="en-GB" sz="1800" dirty="0" err="1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behavior</a:t>
            </a: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)</a:t>
            </a:r>
          </a:p>
          <a:p>
            <a:endParaRPr lang="en-US" sz="1800" i="1" dirty="0">
              <a:solidFill>
                <a:schemeClr val="tx1"/>
              </a:solidFill>
              <a:latin typeface="Univers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018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Types of explanation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56200" y="771550"/>
            <a:ext cx="7819140" cy="3923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ts val="1400"/>
              <a:buNone/>
            </a:pP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Explaining the data (visual and less visual methods)</a:t>
            </a: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Explaining the overall (global) behavior of the model (</a:t>
            </a:r>
            <a:r>
              <a:rPr lang="en-US" sz="1600" i="1" dirty="0">
                <a:solidFill>
                  <a:schemeClr val="tx1"/>
                </a:solidFill>
                <a:latin typeface="Univers" panose="020B0503020202020204" pitchFamily="34" charset="0"/>
              </a:rPr>
              <a:t>ex: ‘This algorithm works like this and minimizes that loss function and we know these features matter overall’</a:t>
            </a:r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)</a:t>
            </a: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Explaining the decision of the model for each row in the data set (local explanation) (</a:t>
            </a:r>
            <a:r>
              <a:rPr lang="en-US" sz="1600" i="1" dirty="0">
                <a:solidFill>
                  <a:schemeClr val="tx1"/>
                </a:solidFill>
                <a:latin typeface="Univers" panose="020B0503020202020204" pitchFamily="34" charset="0"/>
              </a:rPr>
              <a:t>ex: The model has predicted we should not grant this client a mortgage because their income decreases their likelihood to pay it with this much)</a:t>
            </a:r>
            <a:endParaRPr lang="en-US" sz="1800" i="1" dirty="0">
              <a:solidFill>
                <a:schemeClr val="tx1"/>
              </a:solidFill>
              <a:latin typeface="Univers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0568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300188" y="123578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XAI taxonomy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56200" y="771550"/>
            <a:ext cx="7819140" cy="3923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ts val="1400"/>
              <a:buNone/>
            </a:pP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8C7E4E-A1F3-4853-8EF6-1CDA58E524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8901"/>
            <a:ext cx="9144000" cy="41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786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XAI in the development proces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56200" y="771550"/>
            <a:ext cx="7819140" cy="3923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ts val="1400"/>
              <a:buNone/>
            </a:pPr>
            <a:r>
              <a:rPr lang="en-US" sz="1400" i="1" dirty="0">
                <a:solidFill>
                  <a:schemeClr val="tx1"/>
                </a:solidFill>
                <a:latin typeface="Univers" panose="020B0503020202020204" pitchFamily="34" charset="0"/>
              </a:rPr>
              <a:t> </a:t>
            </a:r>
            <a:endParaRPr lang="en-US" sz="1800" i="1" dirty="0">
              <a:latin typeface="Univers" panose="020B0503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D2B929-FAB3-4104-BFF4-618A4D4917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00" y="946953"/>
            <a:ext cx="8025370" cy="357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611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at does it mean to ‘explain’ a model?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56200" y="771550"/>
            <a:ext cx="7819140" cy="3923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ts val="1400"/>
              <a:buNone/>
            </a:pP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First important requisite task is to define the </a:t>
            </a:r>
            <a:r>
              <a:rPr lang="en-US" sz="1800" dirty="0" err="1">
                <a:solidFill>
                  <a:schemeClr val="tx1"/>
                </a:solidFill>
                <a:latin typeface="Univers" panose="020B0503020202020204" pitchFamily="34" charset="0"/>
              </a:rPr>
              <a:t>explainability</a:t>
            </a:r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 needs and requirements of different stakeholders (if there are any, transparency not applicable in all scenarios)</a:t>
            </a: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Integrate it as early as possible in the development process (should not be an ‘afterthought’)</a:t>
            </a: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One can provide different levels of explanation depending on the context, needs and end-user (one explanation for credit risk manager, a different one for a client, a third for a technical team) </a:t>
            </a:r>
          </a:p>
          <a:p>
            <a:r>
              <a:rPr lang="en-US" sz="1800" dirty="0">
                <a:solidFill>
                  <a:schemeClr val="tx1"/>
                </a:solidFill>
                <a:latin typeface="Univers" panose="020B0503020202020204" pitchFamily="34" charset="0"/>
              </a:rPr>
              <a:t>A combination of methods could be provided, it’s not either/or </a:t>
            </a:r>
          </a:p>
          <a:p>
            <a:endParaRPr lang="en-US" sz="1800" dirty="0">
              <a:latin typeface="Univers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6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50242A9-4692-4356-84BB-D8F6EAB0B6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810"/>
            <a:ext cx="9267538" cy="5277863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827584" y="555526"/>
            <a:ext cx="3960440" cy="1008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bg1"/>
                </a:solidFill>
                <a:latin typeface="Univers" panose="020B0503020202020204" pitchFamily="34" charset="0"/>
              </a:rPr>
              <a:t>No one-size-fits-all approach, it’s a process rather than single product </a:t>
            </a:r>
          </a:p>
        </p:txBody>
      </p:sp>
    </p:spTree>
    <p:extLst>
      <p:ext uri="{BB962C8B-B14F-4D97-AF65-F5344CB8AC3E}">
        <p14:creationId xmlns:p14="http://schemas.microsoft.com/office/powerpoint/2010/main" val="24924504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605C97-7AE2-4B3A-BFD0-82316101A8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9752" y="2337103"/>
            <a:ext cx="4223146" cy="238975"/>
          </a:xfrm>
        </p:spPr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s 57 Condensed" panose="00000400000000000000" pitchFamily="2" charset="0"/>
              </a:rPr>
              <a:t>Brief theoretical introduc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9CF5C-9DD5-40D0-B9B9-A536217EBFA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02D9FF-C36F-4303-9E20-4CA6EBB999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4941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C0678B-0CCF-4ACF-8A78-71BB26BEF3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1800" dirty="0" err="1">
                <a:solidFill>
                  <a:schemeClr val="tx1"/>
                </a:solidFill>
                <a:latin typeface="Univers 57 Condensed" panose="00000400000000000000" pitchFamily="2" charset="0"/>
              </a:rPr>
              <a:t>RuleFit</a:t>
            </a:r>
            <a:endParaRPr lang="en-US" sz="1800" dirty="0">
              <a:solidFill>
                <a:schemeClr val="tx1"/>
              </a:solidFill>
              <a:latin typeface="Univers 57 Condensed" panose="00000400000000000000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09DA5E-7A07-4FDE-A835-84A37ACFF8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  <a:latin typeface="Univers "/>
              </a:rPr>
              <a:t>Creates new features (in the form of decision rules) and builds a transparent model using these features </a:t>
            </a:r>
          </a:p>
          <a:p>
            <a:r>
              <a:rPr lang="en-US" sz="1800" dirty="0">
                <a:solidFill>
                  <a:schemeClr val="tx1"/>
                </a:solidFill>
                <a:latin typeface="Univers "/>
              </a:rPr>
              <a:t>Example in the paper (Boston median house prediction): </a:t>
            </a:r>
          </a:p>
          <a:p>
            <a:pPr marL="0" indent="0">
              <a:buNone/>
            </a:pPr>
            <a:r>
              <a:rPr lang="en-GB" sz="1800" i="1" dirty="0">
                <a:solidFill>
                  <a:schemeClr val="tx1"/>
                </a:solidFill>
                <a:latin typeface="Univers "/>
              </a:rPr>
              <a:t>IF number of rooms &gt; 6.64 AND concentration of nitric oxide &lt;0.67 THEN 1 ELSE 0</a:t>
            </a:r>
          </a:p>
          <a:p>
            <a:r>
              <a:rPr lang="en-GB" sz="1800" dirty="0">
                <a:solidFill>
                  <a:schemeClr val="tx1"/>
                </a:solidFill>
                <a:latin typeface="Univers "/>
              </a:rPr>
              <a:t>In the first step, the algorithm trains a tree-based model predicting the target and uses it to create these decision rules (Result: many rules, not all informative)</a:t>
            </a:r>
          </a:p>
          <a:p>
            <a:r>
              <a:rPr lang="en-GB" sz="1800" dirty="0">
                <a:solidFill>
                  <a:schemeClr val="tx1"/>
                </a:solidFill>
                <a:latin typeface="Univers "/>
              </a:rPr>
              <a:t>Second step: train a sparse linear model, such as a LASSO to select among the original and newly created features. </a:t>
            </a:r>
            <a:endParaRPr lang="en-US" sz="1800" dirty="0">
              <a:solidFill>
                <a:schemeClr val="tx1"/>
              </a:solidFill>
              <a:latin typeface="Univers "/>
            </a:endParaRPr>
          </a:p>
          <a:p>
            <a:endParaRPr lang="en-US" sz="1800" dirty="0">
              <a:latin typeface="Univers "/>
            </a:endParaRPr>
          </a:p>
        </p:txBody>
      </p:sp>
    </p:spTree>
    <p:extLst>
      <p:ext uri="{BB962C8B-B14F-4D97-AF65-F5344CB8AC3E}">
        <p14:creationId xmlns:p14="http://schemas.microsoft.com/office/powerpoint/2010/main" val="16711017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27614C-7089-43C0-974B-1D3CD3F902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7000" y="291742"/>
            <a:ext cx="8410000" cy="43926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Partial dependency plots (PDP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8E60A9-BA8F-4BE3-84F1-9E9DE4FE5B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0" y="1275606"/>
            <a:ext cx="4179405" cy="3378194"/>
          </a:xfrm>
        </p:spPr>
        <p:txBody>
          <a:bodyPr/>
          <a:lstStyle/>
          <a:p>
            <a:pPr marL="285750" lvl="0" indent="-285750">
              <a:spcBef>
                <a:spcPts val="600"/>
              </a:spcBef>
              <a:buSzPts val="16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The average marginal effect of a feature on the target</a:t>
            </a:r>
          </a:p>
          <a:p>
            <a:pPr marL="285750" lvl="0" indent="-285750">
              <a:spcBef>
                <a:spcPts val="600"/>
              </a:spcBef>
              <a:buSzPts val="16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It shows whether the relationship between the feature and the target is linear, monotonous or more complex</a:t>
            </a:r>
          </a:p>
          <a:p>
            <a:pPr marL="285750" lvl="0" indent="-285750">
              <a:spcBef>
                <a:spcPts val="600"/>
              </a:spcBef>
              <a:buSzPts val="16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A main assumption is that the features not included in the PDP are NOT correlated with the one included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A65272-79F0-4959-92F6-577A6B505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00" y="1347614"/>
            <a:ext cx="4039000" cy="269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93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27614C-7089-43C0-974B-1D3CD3F902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7000" y="291742"/>
            <a:ext cx="8410000" cy="43926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Individual conditional independence (ICE) plo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8E60A9-BA8F-4BE3-84F1-9E9DE4FE5B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0" y="1275606"/>
            <a:ext cx="4179405" cy="3378194"/>
          </a:xfrm>
        </p:spPr>
        <p:txBody>
          <a:bodyPr/>
          <a:lstStyle/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</a:pPr>
            <a:r>
              <a:rPr lang="en-GB" sz="1800" dirty="0">
                <a:solidFill>
                  <a:srgbClr val="000000"/>
                </a:solidFill>
                <a:latin typeface="Univers "/>
              </a:rPr>
              <a:t>It shows a line per instance, instead of the average </a:t>
            </a:r>
            <a:endParaRPr lang="en-GB" sz="1800" dirty="0">
              <a:latin typeface="Univers "/>
            </a:endParaRPr>
          </a:p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</a:pPr>
            <a:r>
              <a:rPr lang="en-GB" sz="1800" dirty="0">
                <a:solidFill>
                  <a:srgbClr val="000000"/>
                </a:solidFill>
                <a:latin typeface="Univers "/>
              </a:rPr>
              <a:t>Can uncover heterogenous effects or potential hidden interactions </a:t>
            </a:r>
            <a:endParaRPr lang="en-GB" sz="1800" dirty="0">
              <a:latin typeface="Univers "/>
            </a:endParaRPr>
          </a:p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</a:pPr>
            <a:r>
              <a:rPr lang="en-GB" sz="1800" dirty="0">
                <a:solidFill>
                  <a:srgbClr val="000000"/>
                </a:solidFill>
                <a:latin typeface="Univers "/>
              </a:rPr>
              <a:t>Again, if a feature is dependent on another feature, some points in the lines might be invalid</a:t>
            </a:r>
          </a:p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</a:pPr>
            <a:r>
              <a:rPr lang="en-GB" sz="1800" dirty="0">
                <a:solidFill>
                  <a:srgbClr val="000000"/>
                </a:solidFill>
                <a:latin typeface="Univers "/>
              </a:rPr>
              <a:t>Overall quite intuitive and easy to grasp</a:t>
            </a:r>
            <a:endParaRPr lang="en-GB" sz="1800" dirty="0">
              <a:latin typeface="Univers "/>
            </a:endParaRP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8C69F3-6850-4637-9B12-0C635FE523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00" y="637803"/>
            <a:ext cx="3867894" cy="386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788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1BDC-F247-4E75-87EB-2F29637C8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/>
                </a:solidFill>
                <a:latin typeface="Univers 57 Condensed" panose="00000400000000000000" pitchFamily="2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147751-28DC-41C6-9F5F-1D943EBBF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00"/>
                </a:solidFill>
                <a:latin typeface="Univers "/>
              </a:rPr>
              <a:t>What is </a:t>
            </a:r>
            <a:r>
              <a:rPr lang="en-US" sz="1800" dirty="0" err="1">
                <a:solidFill>
                  <a:srgbClr val="000000"/>
                </a:solidFill>
                <a:latin typeface="Univers "/>
              </a:rPr>
              <a:t>explainability</a:t>
            </a:r>
            <a:r>
              <a:rPr lang="en-US" sz="1800" dirty="0">
                <a:solidFill>
                  <a:srgbClr val="000000"/>
                </a:solidFill>
                <a:latin typeface="Univers "/>
              </a:rPr>
              <a:t>?</a:t>
            </a:r>
          </a:p>
          <a:p>
            <a:r>
              <a:rPr lang="en-US" sz="1800" dirty="0">
                <a:solidFill>
                  <a:srgbClr val="000000"/>
                </a:solidFill>
                <a:latin typeface="Univers "/>
              </a:rPr>
              <a:t>Why </a:t>
            </a:r>
            <a:r>
              <a:rPr lang="en-US" sz="1800" dirty="0" err="1">
                <a:solidFill>
                  <a:srgbClr val="000000"/>
                </a:solidFill>
                <a:latin typeface="Univers "/>
              </a:rPr>
              <a:t>explainability</a:t>
            </a:r>
            <a:r>
              <a:rPr lang="en-US" sz="1800" dirty="0">
                <a:solidFill>
                  <a:srgbClr val="000000"/>
                </a:solidFill>
                <a:latin typeface="Univers "/>
              </a:rPr>
              <a:t>? Why not?</a:t>
            </a:r>
          </a:p>
          <a:p>
            <a:r>
              <a:rPr lang="en-US" sz="1800" dirty="0">
                <a:solidFill>
                  <a:srgbClr val="000000"/>
                </a:solidFill>
                <a:latin typeface="Univers "/>
              </a:rPr>
              <a:t>Types of explanations</a:t>
            </a:r>
          </a:p>
          <a:p>
            <a:r>
              <a:rPr lang="en-US" sz="1800" dirty="0">
                <a:solidFill>
                  <a:srgbClr val="000000"/>
                </a:solidFill>
                <a:latin typeface="Univers "/>
              </a:rPr>
              <a:t>XAI in the </a:t>
            </a:r>
            <a:r>
              <a:rPr lang="en-US" sz="1800" dirty="0" err="1">
                <a:solidFill>
                  <a:srgbClr val="000000"/>
                </a:solidFill>
                <a:latin typeface="Univers "/>
              </a:rPr>
              <a:t>MLOps</a:t>
            </a:r>
            <a:endParaRPr lang="en-US" sz="1800" dirty="0">
              <a:solidFill>
                <a:srgbClr val="000000"/>
              </a:solidFill>
              <a:latin typeface="Univers "/>
            </a:endParaRPr>
          </a:p>
          <a:p>
            <a:r>
              <a:rPr lang="en-US" sz="1800" dirty="0">
                <a:solidFill>
                  <a:srgbClr val="000000"/>
                </a:solidFill>
                <a:latin typeface="Univers "/>
              </a:rPr>
              <a:t>Brief technical walkthrough of methods</a:t>
            </a:r>
          </a:p>
          <a:p>
            <a:r>
              <a:rPr lang="en-US" sz="1800" dirty="0">
                <a:solidFill>
                  <a:srgbClr val="000000"/>
                </a:solidFill>
                <a:latin typeface="Univers "/>
              </a:rPr>
              <a:t>Coding examples of methods for </a:t>
            </a:r>
            <a:r>
              <a:rPr lang="en-US" sz="1800" dirty="0" err="1">
                <a:solidFill>
                  <a:srgbClr val="000000"/>
                </a:solidFill>
                <a:latin typeface="Univers "/>
              </a:rPr>
              <a:t>explainability</a:t>
            </a:r>
            <a:endParaRPr lang="en-US" sz="1800" dirty="0">
              <a:solidFill>
                <a:srgbClr val="000000"/>
              </a:solidFill>
              <a:latin typeface="Univers 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1560B7-C786-46C7-BF3C-8286EF1092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3ADB4E-9B09-45A2-A801-D3601615BFC8}" type="slidenum">
              <a:rPr lang="nl-NL" smtClean="0"/>
              <a:pPr/>
              <a:t>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60408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C0678B-0CCF-4ACF-8A78-71BB26BEF3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Global surrog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09DA5E-7A07-4FDE-A835-84A37ACFF8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An interpretable model trains to explain a ‘black box’ model</a:t>
            </a:r>
            <a:endParaRPr lang="en-GB" sz="1800" dirty="0">
              <a:latin typeface="Univers "/>
            </a:endParaRP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Trains an interpretable model on the dataset of choice and the predictions of the black box model</a:t>
            </a:r>
            <a:endParaRPr lang="en-GB" sz="1800" dirty="0">
              <a:latin typeface="Univers "/>
            </a:endParaRP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Keeps track of how well the new model replicates the predictions of the black box model  </a:t>
            </a: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Since we are approximating an uncertain prediction (approximation of the real data generating process), they are inherently imperfect</a:t>
            </a: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Not clear how good of an approximation is ‘good enough’</a:t>
            </a:r>
            <a:endParaRPr lang="en-GB" sz="1800" dirty="0">
              <a:latin typeface="Univers "/>
            </a:endParaRPr>
          </a:p>
          <a:p>
            <a:pPr marL="342900" lvl="0" indent="-342900">
              <a:spcBef>
                <a:spcPts val="600"/>
              </a:spcBef>
              <a:buClr>
                <a:srgbClr val="B7B7B7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rPr>
              <a:t> </a:t>
            </a:r>
            <a:endParaRPr lang="en-GB" sz="1800" dirty="0"/>
          </a:p>
          <a:p>
            <a:endParaRPr lang="en-US" sz="1800" dirty="0">
              <a:solidFill>
                <a:schemeClr val="tx1"/>
              </a:solidFill>
              <a:latin typeface="Univers "/>
            </a:endParaRPr>
          </a:p>
          <a:p>
            <a:endParaRPr lang="en-US" sz="1800" dirty="0">
              <a:latin typeface="Univers "/>
            </a:endParaRPr>
          </a:p>
        </p:txBody>
      </p:sp>
    </p:spTree>
    <p:extLst>
      <p:ext uri="{BB962C8B-B14F-4D97-AF65-F5344CB8AC3E}">
        <p14:creationId xmlns:p14="http://schemas.microsoft.com/office/powerpoint/2010/main" val="14169743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298125-60B4-46DC-9944-8E947C07C6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854" y="279710"/>
            <a:ext cx="8402263" cy="367260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Local interpretable model-agnostic explanations (LIM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91EAD-10BD-4441-984A-92D7A6F87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032" y="1131590"/>
            <a:ext cx="3891373" cy="3522210"/>
          </a:xfrm>
        </p:spPr>
        <p:txBody>
          <a:bodyPr/>
          <a:lstStyle/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Explains individual predictions</a:t>
            </a:r>
            <a:endParaRPr lang="en-GB" sz="1800" dirty="0">
              <a:latin typeface="Univers "/>
            </a:endParaRP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LIME: 1 ) generates a new dataset of permuted samples and corresponding predictions of the black box model; 2) trains an interpretable model on the new dataset, weighted by the proximity of the sampled instances to the instance of interest</a:t>
            </a:r>
            <a:endParaRPr lang="en-GB" sz="1800" dirty="0">
              <a:latin typeface="Univers "/>
            </a:endParaRP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D37925-BA9E-4F30-8C0D-18912A78E6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79" y="1399832"/>
            <a:ext cx="4139952" cy="275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5663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298125-60B4-46DC-9944-8E947C07C6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854" y="279710"/>
            <a:ext cx="8402263" cy="367260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Local interpretable model-agnostic explanations (LIM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91EAD-10BD-4441-984A-92D7A6F87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7545" y="1059582"/>
            <a:ext cx="7992888" cy="3594218"/>
          </a:xfrm>
        </p:spPr>
        <p:txBody>
          <a:bodyPr/>
          <a:lstStyle/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The interpretable model should be a good LOCAL approximation but not a global one</a:t>
            </a:r>
            <a:endParaRPr lang="en-GB" sz="1800" dirty="0">
              <a:latin typeface="Univers "/>
            </a:endParaRP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r>
              <a:rPr lang="en-GB" sz="1800" dirty="0">
                <a:solidFill>
                  <a:schemeClr val="dk1"/>
                </a:solidFill>
                <a:latin typeface="Univers "/>
              </a:rPr>
              <a:t>In most implementations, need to select number of features in the surrogate model; Most packages use exponential smoothing kernel to define neighbourhood around a point</a:t>
            </a: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endParaRPr lang="en-GB" sz="1800" dirty="0">
              <a:latin typeface="Univers 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6215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298125-60B4-46DC-9944-8E947C07C6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854" y="279710"/>
            <a:ext cx="8402263" cy="367260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Shapley val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91EAD-10BD-4441-984A-92D7A6F87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0" y="1402178"/>
            <a:ext cx="4032449" cy="3522210"/>
          </a:xfrm>
        </p:spPr>
        <p:txBody>
          <a:bodyPr/>
          <a:lstStyle/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Calculates the marginal contribution of each feature on an instance level compared to the average prediction for the data set</a:t>
            </a:r>
            <a:endParaRPr lang="en-GB" sz="1800" dirty="0"/>
          </a:p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It works for both classification and regression tasks</a:t>
            </a:r>
            <a:endParaRPr lang="en-GB" sz="1800" dirty="0"/>
          </a:p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Computation increases exponentially with number of features</a:t>
            </a:r>
            <a:endParaRPr lang="en-GB" sz="1800" dirty="0"/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endParaRPr lang="en-GB" sz="1800" dirty="0">
              <a:latin typeface="Univers "/>
            </a:endParaRP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87ED25-AFA8-44A1-938D-403585C6AB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203598"/>
            <a:ext cx="4121306" cy="2937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3345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298125-60B4-46DC-9944-8E947C07C6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854" y="279710"/>
            <a:ext cx="8402263" cy="367260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Shapley val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91EAD-10BD-4441-984A-92D7A6F87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552" y="1059582"/>
            <a:ext cx="7344817" cy="3522210"/>
          </a:xfrm>
        </p:spPr>
        <p:txBody>
          <a:bodyPr/>
          <a:lstStyle/>
          <a:p>
            <a:pPr marL="28575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  <a:ea typeface="Arial"/>
                <a:cs typeface="Arial"/>
                <a:sym typeface="Arial"/>
              </a:rPr>
              <a:t>Strong theoretical foundations and ensures the </a:t>
            </a:r>
            <a:r>
              <a:rPr lang="en-GB" sz="1800" dirty="0">
                <a:solidFill>
                  <a:schemeClr val="tx1"/>
                </a:solidFill>
                <a:latin typeface="Univers "/>
              </a:rPr>
              <a:t>that the difference between the prediction and the average prediction is fairly distributed among the feature values</a:t>
            </a:r>
          </a:p>
          <a:p>
            <a:pPr marL="28575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</a:rPr>
              <a:t>One of the few methods providing this level of explanation</a:t>
            </a:r>
          </a:p>
          <a:p>
            <a:pPr marL="28575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</a:rPr>
              <a:t>Considers all features for each instance (important in compliance scenarios)</a:t>
            </a:r>
          </a:p>
          <a:p>
            <a:pPr marL="28575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 "/>
              </a:rPr>
              <a:t>Higher computational costs, especially if we have many features</a:t>
            </a:r>
          </a:p>
          <a:p>
            <a:pPr marL="28575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endParaRPr lang="en-GB" sz="1800" dirty="0">
              <a:solidFill>
                <a:schemeClr val="tx1"/>
              </a:solidFill>
              <a:latin typeface="Univers "/>
            </a:endParaRPr>
          </a:p>
          <a:p>
            <a:pPr marL="285750" lvl="0" indent="-285750">
              <a:spcBef>
                <a:spcPts val="0"/>
              </a:spcBef>
              <a:buClr>
                <a:srgbClr val="000000"/>
              </a:buClr>
              <a:buSzPts val="1800"/>
              <a:buFont typeface="Arial"/>
              <a:buChar char="•"/>
            </a:pPr>
            <a:endParaRPr lang="en-GB" sz="1800" dirty="0">
              <a:solidFill>
                <a:schemeClr val="tx1"/>
              </a:solidFill>
              <a:latin typeface="Univers "/>
            </a:endParaRPr>
          </a:p>
          <a:p>
            <a:pPr marL="342900" lvl="0" indent="-342900">
              <a:spcBef>
                <a:spcPts val="600"/>
              </a:spcBef>
              <a:buClr>
                <a:schemeClr val="dk1"/>
              </a:buClr>
              <a:buSzPts val="1800"/>
            </a:pPr>
            <a:endParaRPr lang="en-GB" sz="1800" dirty="0">
              <a:solidFill>
                <a:schemeClr val="tx1"/>
              </a:solidFill>
              <a:latin typeface="Univers 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8923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53787AD-2A22-4BB1-8E01-897A9F83647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50103" y="2432052"/>
            <a:ext cx="4223146" cy="238975"/>
          </a:xfrm>
        </p:spPr>
        <p:txBody>
          <a:bodyPr/>
          <a:lstStyle/>
          <a:p>
            <a:r>
              <a:rPr lang="en-US" dirty="0"/>
              <a:t>CODING WALKTHROUGH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4CC88-E0E7-43CE-A814-7E9CB832D5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18BC32-DBA4-4331-9F77-3CA2CA5409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7B4EA2-AFD6-42C1-88DF-7A65C2290DBA}"/>
              </a:ext>
            </a:extLst>
          </p:cNvPr>
          <p:cNvSpPr txBox="1"/>
          <p:nvPr/>
        </p:nvSpPr>
        <p:spPr>
          <a:xfrm>
            <a:off x="107504" y="3564329"/>
            <a:ext cx="90364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chemeClr val="bg1"/>
                </a:solidFill>
              </a:rPr>
              <a:t>Github</a:t>
            </a:r>
            <a:r>
              <a:rPr lang="en-US" sz="2000" b="1" dirty="0">
                <a:solidFill>
                  <a:schemeClr val="bg1"/>
                </a:solidFill>
              </a:rPr>
              <a:t> link: </a:t>
            </a:r>
          </a:p>
          <a:p>
            <a:pPr algn="ctr"/>
            <a:r>
              <a:rPr lang="nl-NL" sz="2000" b="1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VioletaMisheva/XAI_workshop_ODSC2020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7580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8E09A-C213-4D3D-8CC2-0B1E6F7539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>
                <a:latin typeface="Univers 57 Condensed" panose="00000400000000000000" pitchFamily="2" charset="0"/>
              </a:rPr>
              <a:t>Thank you for your attention.</a:t>
            </a:r>
            <a:br>
              <a:rPr lang="en-US" sz="2400" dirty="0">
                <a:latin typeface="Univers 57 Condensed" panose="00000400000000000000" pitchFamily="2" charset="0"/>
              </a:rPr>
            </a:br>
            <a:r>
              <a:rPr lang="en-US" sz="1800" dirty="0">
                <a:latin typeface="Univers 57 Condensed" panose="00000400000000000000" pitchFamily="2" charset="0"/>
              </a:rPr>
              <a:t>Questions?</a:t>
            </a:r>
            <a:endParaRPr lang="en-US" sz="2400" dirty="0">
              <a:latin typeface="Univers 57 Condensed" panose="00000400000000000000" pitchFamily="2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330973-2F6B-4FEA-829F-BE2436FE0C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092267"/>
            <a:ext cx="6858000" cy="1241822"/>
          </a:xfrm>
        </p:spPr>
        <p:txBody>
          <a:bodyPr/>
          <a:lstStyle/>
          <a:p>
            <a:r>
              <a:rPr lang="en-US" i="1" dirty="0">
                <a:solidFill>
                  <a:schemeClr val="tx1"/>
                </a:solidFill>
                <a:latin typeface="Univers "/>
              </a:rPr>
              <a:t>Connect with me:</a:t>
            </a:r>
          </a:p>
          <a:p>
            <a:r>
              <a:rPr lang="en-US" dirty="0">
                <a:solidFill>
                  <a:schemeClr val="tx1"/>
                </a:solidFill>
                <a:latin typeface="Univers "/>
              </a:rPr>
              <a:t>LinkedIn: Violeta Misheva</a:t>
            </a:r>
          </a:p>
          <a:p>
            <a:r>
              <a:rPr lang="en-GB" sz="2000" dirty="0">
                <a:solidFill>
                  <a:schemeClr val="tx1"/>
                </a:solidFill>
                <a:latin typeface="Univers "/>
              </a:rPr>
              <a:t>GitHub:</a:t>
            </a:r>
            <a:r>
              <a:rPr lang="en-GB" dirty="0">
                <a:solidFill>
                  <a:schemeClr val="tx1"/>
                </a:solidFill>
                <a:latin typeface="Univers "/>
              </a:rPr>
              <a:t> </a:t>
            </a:r>
            <a:r>
              <a:rPr lang="en-GB" u="sng" dirty="0">
                <a:solidFill>
                  <a:schemeClr val="tx1"/>
                </a:solidFill>
                <a:latin typeface="Univers 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VioletaMisheva</a:t>
            </a:r>
            <a:endParaRPr lang="en-GB" dirty="0">
              <a:solidFill>
                <a:schemeClr val="tx1"/>
              </a:solidFill>
              <a:latin typeface="Univers "/>
            </a:endParaRPr>
          </a:p>
          <a:p>
            <a:pPr lvl="0" algn="l">
              <a:spcBef>
                <a:spcPts val="600"/>
              </a:spcBef>
              <a:buClr>
                <a:srgbClr val="B7B7B7"/>
              </a:buClr>
              <a:buSzPts val="1800"/>
            </a:pPr>
            <a:endParaRPr lang="en-GB" b="1" dirty="0">
              <a:solidFill>
                <a:schemeClr val="tx1"/>
              </a:solidFill>
              <a:latin typeface="Lato Light"/>
              <a:ea typeface="Lato Light"/>
              <a:cs typeface="Lato Light"/>
              <a:sym typeface="Lato Light"/>
            </a:endParaRPr>
          </a:p>
          <a:p>
            <a:pPr lvl="0" algn="l">
              <a:spcBef>
                <a:spcPts val="600"/>
              </a:spcBef>
              <a:buClr>
                <a:srgbClr val="B7B7B7"/>
              </a:buClr>
              <a:buSzPts val="1800"/>
            </a:pPr>
            <a:endParaRPr lang="en-GB" sz="2000" b="1" i="1" dirty="0">
              <a:solidFill>
                <a:srgbClr val="FFFFFF"/>
              </a:solidFill>
              <a:latin typeface="Lato Light"/>
              <a:ea typeface="Lato Light"/>
              <a:cs typeface="Lato Light"/>
              <a:sym typeface="Lato Light"/>
            </a:endParaRPr>
          </a:p>
          <a:p>
            <a:endParaRPr lang="en-US" dirty="0">
              <a:solidFill>
                <a:schemeClr val="tx1"/>
              </a:solidFill>
              <a:latin typeface="Univers 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983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371976" y="307482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(ONE) </a:t>
            </a:r>
            <a:r>
              <a:rPr lang="en-US" sz="1800" dirty="0" err="1">
                <a:solidFill>
                  <a:schemeClr val="tx1"/>
                </a:solidFill>
                <a:latin typeface="Univers 57 Condensed" panose="00000400000000000000" pitchFamily="2" charset="0"/>
              </a:rPr>
              <a:t>Explainability</a:t>
            </a:r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 definition 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56200" y="771550"/>
            <a:ext cx="7819140" cy="3923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ts val="1400"/>
              <a:buNone/>
            </a:pP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</p:txBody>
      </p:sp>
      <p:pic>
        <p:nvPicPr>
          <p:cNvPr id="4" name="Google Shape;82;p3" descr="Image result for interpretable machine learning">
            <a:extLst>
              <a:ext uri="{FF2B5EF4-FFF2-40B4-BE49-F238E27FC236}">
                <a16:creationId xmlns:a16="http://schemas.microsoft.com/office/drawing/2014/main" id="{92AB91C4-356F-425E-95F3-7508EB92EEF8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81165" y="2139702"/>
            <a:ext cx="3693693" cy="239887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4A6B5DC-F529-48CB-90E9-266F4345BAAE}"/>
              </a:ext>
            </a:extLst>
          </p:cNvPr>
          <p:cNvSpPr/>
          <p:nvPr/>
        </p:nvSpPr>
        <p:spPr>
          <a:xfrm>
            <a:off x="919115" y="894866"/>
            <a:ext cx="73057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SzPts val="1600"/>
            </a:pPr>
            <a:r>
              <a:rPr lang="en-GB" dirty="0">
                <a:latin typeface="Univers" panose="020B0503020202020204" pitchFamily="34" charset="0"/>
                <a:ea typeface="Arial"/>
                <a:cs typeface="Arial"/>
                <a:sym typeface="Arial"/>
              </a:rPr>
              <a:t>“</a:t>
            </a:r>
            <a:r>
              <a:rPr lang="en-GB" dirty="0">
                <a:solidFill>
                  <a:srgbClr val="000000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Methods and models that make the behaviour and predictions of a machine learning model understandable to humans.”</a:t>
            </a:r>
          </a:p>
        </p:txBody>
      </p:sp>
    </p:spTree>
    <p:extLst>
      <p:ext uri="{BB962C8B-B14F-4D97-AF65-F5344CB8AC3E}">
        <p14:creationId xmlns:p14="http://schemas.microsoft.com/office/powerpoint/2010/main" val="3978074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5"/>
          </p:nvPr>
        </p:nvSpPr>
        <p:spPr>
          <a:xfrm>
            <a:off x="348856" y="267494"/>
            <a:ext cx="8543624" cy="30023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y explainable AI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9D615A-4FA8-4377-8999-A4885EC60F2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05320" y="1347614"/>
            <a:ext cx="4387160" cy="3672408"/>
          </a:xfrm>
        </p:spPr>
        <p:txBody>
          <a:bodyPr/>
          <a:lstStyle/>
          <a:p>
            <a:pPr marL="285750" lvl="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As ‘challengers’ for strictly regulated models</a:t>
            </a:r>
          </a:p>
          <a:p>
            <a:pPr marL="742950" lvl="1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i="1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‘Why was I rejected for a loan?’</a:t>
            </a:r>
            <a:endParaRPr lang="en-GB" sz="1800" dirty="0">
              <a:solidFill>
                <a:schemeClr val="tx1"/>
              </a:solidFill>
              <a:latin typeface="Univers" panose="020B0503020202020204" pitchFamily="34" charset="0"/>
              <a:ea typeface="Arial"/>
              <a:cs typeface="Arial"/>
              <a:sym typeface="Arial"/>
            </a:endParaRPr>
          </a:p>
          <a:p>
            <a:pPr marL="285750" lvl="0" indent="-196850">
              <a:spcBef>
                <a:spcPts val="0"/>
              </a:spcBef>
              <a:buSzPts val="1400"/>
              <a:buNone/>
            </a:pPr>
            <a:endParaRPr lang="en-GB" sz="1800" dirty="0">
              <a:solidFill>
                <a:schemeClr val="tx1"/>
              </a:solidFill>
              <a:latin typeface="Univers" panose="020B0503020202020204" pitchFamily="34" charset="0"/>
              <a:ea typeface="Arial"/>
              <a:cs typeface="Arial"/>
              <a:sym typeface="Arial"/>
            </a:endParaRPr>
          </a:p>
          <a:p>
            <a:pPr marL="285750" lvl="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To increase trust, social acceptance and confidence of business stakeholders</a:t>
            </a:r>
          </a:p>
          <a:p>
            <a:pPr marL="285750" lvl="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To increase transparency and detection of bias</a:t>
            </a:r>
          </a:p>
          <a:p>
            <a:pPr marL="0" indent="0">
              <a:buNone/>
            </a:pPr>
            <a:endParaRPr lang="en-US" dirty="0">
              <a:latin typeface="Univers 57 Condensed" panose="00000400000000000000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AFCBAB-C2B1-479A-906F-810EEDBDFC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04" y="1491630"/>
            <a:ext cx="4427899" cy="22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43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5"/>
          </p:nvPr>
        </p:nvSpPr>
        <p:spPr>
          <a:xfrm>
            <a:off x="348856" y="267494"/>
            <a:ext cx="8543624" cy="30023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y explainable AI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9D615A-4FA8-4377-8999-A4885EC60F2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46977" y="1417164"/>
            <a:ext cx="6211237" cy="3744416"/>
          </a:xfrm>
        </p:spPr>
        <p:txBody>
          <a:bodyPr/>
          <a:lstStyle/>
          <a:p>
            <a:pPr marL="285750" lvl="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To increase robustness and reliability of the model</a:t>
            </a:r>
          </a:p>
          <a:p>
            <a:pPr marL="285750" lvl="0" indent="-285750">
              <a:spcBef>
                <a:spcPts val="0"/>
              </a:spcBef>
              <a:buSzPts val="1400"/>
              <a:buFont typeface="Arial"/>
              <a:buChar char="•"/>
            </a:pPr>
            <a:endParaRPr lang="en-GB" sz="1800" dirty="0">
              <a:solidFill>
                <a:schemeClr val="tx1"/>
              </a:solidFill>
              <a:latin typeface="Univers" panose="020B0503020202020204" pitchFamily="34" charset="0"/>
              <a:ea typeface="Arial"/>
              <a:cs typeface="Arial"/>
              <a:sym typeface="Arial"/>
            </a:endParaRPr>
          </a:p>
          <a:p>
            <a:pPr marL="285750" lvl="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Helps data scientists understand their work better (better grasp of the domain, the interaction of the features and the decision-making process of the model)</a:t>
            </a: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pPr marL="0" indent="0">
              <a:buNone/>
            </a:pPr>
            <a:endParaRPr lang="en-US" dirty="0">
              <a:latin typeface="Univers 57 Condensed" panose="000004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B3039D7-1724-44F0-B24A-0464A0ACCF63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51520" y="1707654"/>
            <a:ext cx="648111" cy="716472"/>
            <a:chOff x="5713413" y="3175"/>
            <a:chExt cx="6200776" cy="6854826"/>
          </a:xfrm>
          <a:solidFill>
            <a:schemeClr val="accent5"/>
          </a:soli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6C88C488-5D21-4D5B-BF64-2AF20415D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9413" y="1055688"/>
              <a:ext cx="4168775" cy="5802313"/>
            </a:xfrm>
            <a:custGeom>
              <a:avLst/>
              <a:gdLst>
                <a:gd name="T0" fmla="*/ 829 w 1658"/>
                <a:gd name="T1" fmla="*/ 0 h 2307"/>
                <a:gd name="T2" fmla="*/ 0 w 1658"/>
                <a:gd name="T3" fmla="*/ 802 h 2307"/>
                <a:gd name="T4" fmla="*/ 202 w 1658"/>
                <a:gd name="T5" fmla="*/ 1386 h 2307"/>
                <a:gd name="T6" fmla="*/ 285 w 1658"/>
                <a:gd name="T7" fmla="*/ 1555 h 2307"/>
                <a:gd name="T8" fmla="*/ 439 w 1658"/>
                <a:gd name="T9" fmla="*/ 1831 h 2307"/>
                <a:gd name="T10" fmla="*/ 451 w 1658"/>
                <a:gd name="T11" fmla="*/ 2043 h 2307"/>
                <a:gd name="T12" fmla="*/ 451 w 1658"/>
                <a:gd name="T13" fmla="*/ 2043 h 2307"/>
                <a:gd name="T14" fmla="*/ 622 w 1658"/>
                <a:gd name="T15" fmla="*/ 2223 h 2307"/>
                <a:gd name="T16" fmla="*/ 690 w 1658"/>
                <a:gd name="T17" fmla="*/ 2290 h 2307"/>
                <a:gd name="T18" fmla="*/ 749 w 1658"/>
                <a:gd name="T19" fmla="*/ 2307 h 2307"/>
                <a:gd name="T20" fmla="*/ 909 w 1658"/>
                <a:gd name="T21" fmla="*/ 2307 h 2307"/>
                <a:gd name="T22" fmla="*/ 968 w 1658"/>
                <a:gd name="T23" fmla="*/ 2290 h 2307"/>
                <a:gd name="T24" fmla="*/ 1036 w 1658"/>
                <a:gd name="T25" fmla="*/ 2223 h 2307"/>
                <a:gd name="T26" fmla="*/ 1207 w 1658"/>
                <a:gd name="T27" fmla="*/ 2043 h 2307"/>
                <a:gd name="T28" fmla="*/ 1219 w 1658"/>
                <a:gd name="T29" fmla="*/ 1831 h 2307"/>
                <a:gd name="T30" fmla="*/ 1373 w 1658"/>
                <a:gd name="T31" fmla="*/ 1555 h 2307"/>
                <a:gd name="T32" fmla="*/ 1457 w 1658"/>
                <a:gd name="T33" fmla="*/ 1385 h 2307"/>
                <a:gd name="T34" fmla="*/ 1658 w 1658"/>
                <a:gd name="T35" fmla="*/ 802 h 2307"/>
                <a:gd name="T36" fmla="*/ 829 w 1658"/>
                <a:gd name="T37" fmla="*/ 0 h 2307"/>
                <a:gd name="T38" fmla="*/ 1283 w 1658"/>
                <a:gd name="T39" fmla="*/ 1268 h 2307"/>
                <a:gd name="T40" fmla="*/ 1164 w 1658"/>
                <a:gd name="T41" fmla="*/ 1555 h 2307"/>
                <a:gd name="T42" fmla="*/ 1085 w 1658"/>
                <a:gd name="T43" fmla="*/ 1668 h 2307"/>
                <a:gd name="T44" fmla="*/ 573 w 1658"/>
                <a:gd name="T45" fmla="*/ 1668 h 2307"/>
                <a:gd name="T46" fmla="*/ 494 w 1658"/>
                <a:gd name="T47" fmla="*/ 1555 h 2307"/>
                <a:gd name="T48" fmla="*/ 374 w 1658"/>
                <a:gd name="T49" fmla="*/ 1266 h 2307"/>
                <a:gd name="T50" fmla="*/ 209 w 1658"/>
                <a:gd name="T51" fmla="*/ 802 h 2307"/>
                <a:gd name="T52" fmla="*/ 829 w 1658"/>
                <a:gd name="T53" fmla="*/ 210 h 2307"/>
                <a:gd name="T54" fmla="*/ 1449 w 1658"/>
                <a:gd name="T55" fmla="*/ 802 h 2307"/>
                <a:gd name="T56" fmla="*/ 1283 w 1658"/>
                <a:gd name="T57" fmla="*/ 1268 h 2307"/>
                <a:gd name="T58" fmla="*/ 1283 w 1658"/>
                <a:gd name="T59" fmla="*/ 1268 h 2307"/>
                <a:gd name="T60" fmla="*/ 1283 w 1658"/>
                <a:gd name="T61" fmla="*/ 1268 h 2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58" h="2307">
                  <a:moveTo>
                    <a:pt x="829" y="0"/>
                  </a:moveTo>
                  <a:cubicBezTo>
                    <a:pt x="372" y="0"/>
                    <a:pt x="0" y="360"/>
                    <a:pt x="0" y="802"/>
                  </a:cubicBezTo>
                  <a:cubicBezTo>
                    <a:pt x="0" y="1089"/>
                    <a:pt x="116" y="1260"/>
                    <a:pt x="202" y="1386"/>
                  </a:cubicBezTo>
                  <a:cubicBezTo>
                    <a:pt x="255" y="1463"/>
                    <a:pt x="285" y="1509"/>
                    <a:pt x="285" y="1555"/>
                  </a:cubicBezTo>
                  <a:cubicBezTo>
                    <a:pt x="285" y="1659"/>
                    <a:pt x="340" y="1757"/>
                    <a:pt x="439" y="1831"/>
                  </a:cubicBezTo>
                  <a:cubicBezTo>
                    <a:pt x="442" y="1893"/>
                    <a:pt x="451" y="2043"/>
                    <a:pt x="451" y="2043"/>
                  </a:cubicBezTo>
                  <a:cubicBezTo>
                    <a:pt x="451" y="2043"/>
                    <a:pt x="451" y="2043"/>
                    <a:pt x="451" y="2043"/>
                  </a:cubicBezTo>
                  <a:cubicBezTo>
                    <a:pt x="452" y="2086"/>
                    <a:pt x="475" y="2174"/>
                    <a:pt x="622" y="2223"/>
                  </a:cubicBezTo>
                  <a:cubicBezTo>
                    <a:pt x="640" y="2248"/>
                    <a:pt x="662" y="2271"/>
                    <a:pt x="690" y="2290"/>
                  </a:cubicBezTo>
                  <a:cubicBezTo>
                    <a:pt x="707" y="2301"/>
                    <a:pt x="728" y="2307"/>
                    <a:pt x="749" y="2307"/>
                  </a:cubicBezTo>
                  <a:cubicBezTo>
                    <a:pt x="909" y="2307"/>
                    <a:pt x="909" y="2307"/>
                    <a:pt x="909" y="2307"/>
                  </a:cubicBezTo>
                  <a:cubicBezTo>
                    <a:pt x="930" y="2307"/>
                    <a:pt x="950" y="2301"/>
                    <a:pt x="968" y="2290"/>
                  </a:cubicBezTo>
                  <a:cubicBezTo>
                    <a:pt x="995" y="2271"/>
                    <a:pt x="1018" y="2248"/>
                    <a:pt x="1036" y="2223"/>
                  </a:cubicBezTo>
                  <a:cubicBezTo>
                    <a:pt x="1184" y="2173"/>
                    <a:pt x="1206" y="2085"/>
                    <a:pt x="1207" y="2043"/>
                  </a:cubicBezTo>
                  <a:cubicBezTo>
                    <a:pt x="1207" y="2043"/>
                    <a:pt x="1216" y="1893"/>
                    <a:pt x="1219" y="1831"/>
                  </a:cubicBezTo>
                  <a:cubicBezTo>
                    <a:pt x="1318" y="1758"/>
                    <a:pt x="1373" y="1659"/>
                    <a:pt x="1373" y="1555"/>
                  </a:cubicBezTo>
                  <a:cubicBezTo>
                    <a:pt x="1373" y="1509"/>
                    <a:pt x="1403" y="1463"/>
                    <a:pt x="1457" y="1385"/>
                  </a:cubicBezTo>
                  <a:cubicBezTo>
                    <a:pt x="1542" y="1260"/>
                    <a:pt x="1658" y="1089"/>
                    <a:pt x="1658" y="802"/>
                  </a:cubicBezTo>
                  <a:cubicBezTo>
                    <a:pt x="1658" y="360"/>
                    <a:pt x="1286" y="0"/>
                    <a:pt x="829" y="0"/>
                  </a:cubicBezTo>
                  <a:close/>
                  <a:moveTo>
                    <a:pt x="1283" y="1268"/>
                  </a:moveTo>
                  <a:cubicBezTo>
                    <a:pt x="1221" y="1357"/>
                    <a:pt x="1164" y="1442"/>
                    <a:pt x="1164" y="1555"/>
                  </a:cubicBezTo>
                  <a:cubicBezTo>
                    <a:pt x="1164" y="1605"/>
                    <a:pt x="1119" y="1645"/>
                    <a:pt x="1085" y="1668"/>
                  </a:cubicBezTo>
                  <a:cubicBezTo>
                    <a:pt x="573" y="1668"/>
                    <a:pt x="573" y="1668"/>
                    <a:pt x="573" y="1668"/>
                  </a:cubicBezTo>
                  <a:cubicBezTo>
                    <a:pt x="539" y="1645"/>
                    <a:pt x="494" y="1605"/>
                    <a:pt x="494" y="1555"/>
                  </a:cubicBezTo>
                  <a:cubicBezTo>
                    <a:pt x="494" y="1442"/>
                    <a:pt x="436" y="1357"/>
                    <a:pt x="374" y="1266"/>
                  </a:cubicBezTo>
                  <a:cubicBezTo>
                    <a:pt x="297" y="1153"/>
                    <a:pt x="209" y="1024"/>
                    <a:pt x="209" y="802"/>
                  </a:cubicBezTo>
                  <a:cubicBezTo>
                    <a:pt x="209" y="476"/>
                    <a:pt x="487" y="210"/>
                    <a:pt x="829" y="210"/>
                  </a:cubicBezTo>
                  <a:cubicBezTo>
                    <a:pt x="1171" y="210"/>
                    <a:pt x="1449" y="476"/>
                    <a:pt x="1449" y="802"/>
                  </a:cubicBezTo>
                  <a:cubicBezTo>
                    <a:pt x="1449" y="1025"/>
                    <a:pt x="1361" y="1153"/>
                    <a:pt x="1283" y="1268"/>
                  </a:cubicBezTo>
                  <a:close/>
                  <a:moveTo>
                    <a:pt x="1283" y="1268"/>
                  </a:moveTo>
                  <a:cubicBezTo>
                    <a:pt x="1283" y="1268"/>
                    <a:pt x="1283" y="1268"/>
                    <a:pt x="1283" y="12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64106CB-6D56-457A-9D01-1770AAAAD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0451" y="3175"/>
              <a:ext cx="263525" cy="658813"/>
            </a:xfrm>
            <a:custGeom>
              <a:avLst/>
              <a:gdLst>
                <a:gd name="T0" fmla="*/ 53 w 105"/>
                <a:gd name="T1" fmla="*/ 262 h 262"/>
                <a:gd name="T2" fmla="*/ 105 w 105"/>
                <a:gd name="T3" fmla="*/ 210 h 262"/>
                <a:gd name="T4" fmla="*/ 105 w 105"/>
                <a:gd name="T5" fmla="*/ 52 h 262"/>
                <a:gd name="T6" fmla="*/ 53 w 105"/>
                <a:gd name="T7" fmla="*/ 0 h 262"/>
                <a:gd name="T8" fmla="*/ 0 w 105"/>
                <a:gd name="T9" fmla="*/ 52 h 262"/>
                <a:gd name="T10" fmla="*/ 0 w 105"/>
                <a:gd name="T11" fmla="*/ 210 h 262"/>
                <a:gd name="T12" fmla="*/ 53 w 105"/>
                <a:gd name="T13" fmla="*/ 262 h 262"/>
                <a:gd name="T14" fmla="*/ 53 w 105"/>
                <a:gd name="T15" fmla="*/ 262 h 262"/>
                <a:gd name="T16" fmla="*/ 53 w 105"/>
                <a:gd name="T1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62">
                  <a:moveTo>
                    <a:pt x="53" y="262"/>
                  </a:moveTo>
                  <a:cubicBezTo>
                    <a:pt x="82" y="262"/>
                    <a:pt x="105" y="239"/>
                    <a:pt x="105" y="210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24"/>
                    <a:pt x="82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39"/>
                    <a:pt x="24" y="262"/>
                    <a:pt x="53" y="262"/>
                  </a:cubicBezTo>
                  <a:close/>
                  <a:moveTo>
                    <a:pt x="53" y="262"/>
                  </a:moveTo>
                  <a:cubicBezTo>
                    <a:pt x="53" y="262"/>
                    <a:pt x="53" y="262"/>
                    <a:pt x="53" y="2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824DE9B-D52A-4945-803C-F7A6B5A90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8676" y="382588"/>
              <a:ext cx="498475" cy="623888"/>
            </a:xfrm>
            <a:custGeom>
              <a:avLst/>
              <a:gdLst>
                <a:gd name="T0" fmla="*/ 93 w 198"/>
                <a:gd name="T1" fmla="*/ 222 h 248"/>
                <a:gd name="T2" fmla="*/ 138 w 198"/>
                <a:gd name="T3" fmla="*/ 248 h 248"/>
                <a:gd name="T4" fmla="*/ 164 w 198"/>
                <a:gd name="T5" fmla="*/ 241 h 248"/>
                <a:gd name="T6" fmla="*/ 184 w 198"/>
                <a:gd name="T7" fmla="*/ 170 h 248"/>
                <a:gd name="T8" fmla="*/ 105 w 198"/>
                <a:gd name="T9" fmla="*/ 33 h 248"/>
                <a:gd name="T10" fmla="*/ 33 w 198"/>
                <a:gd name="T11" fmla="*/ 14 h 248"/>
                <a:gd name="T12" fmla="*/ 14 w 198"/>
                <a:gd name="T13" fmla="*/ 86 h 248"/>
                <a:gd name="T14" fmla="*/ 93 w 198"/>
                <a:gd name="T15" fmla="*/ 222 h 248"/>
                <a:gd name="T16" fmla="*/ 93 w 198"/>
                <a:gd name="T17" fmla="*/ 222 h 248"/>
                <a:gd name="T18" fmla="*/ 93 w 198"/>
                <a:gd name="T19" fmla="*/ 22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93" y="222"/>
                  </a:moveTo>
                  <a:cubicBezTo>
                    <a:pt x="103" y="239"/>
                    <a:pt x="120" y="248"/>
                    <a:pt x="138" y="248"/>
                  </a:cubicBezTo>
                  <a:cubicBezTo>
                    <a:pt x="147" y="248"/>
                    <a:pt x="156" y="246"/>
                    <a:pt x="164" y="241"/>
                  </a:cubicBezTo>
                  <a:cubicBezTo>
                    <a:pt x="190" y="227"/>
                    <a:pt x="198" y="195"/>
                    <a:pt x="184" y="170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91" y="8"/>
                    <a:pt x="59" y="0"/>
                    <a:pt x="33" y="14"/>
                  </a:cubicBezTo>
                  <a:cubicBezTo>
                    <a:pt x="8" y="29"/>
                    <a:pt x="0" y="61"/>
                    <a:pt x="14" y="86"/>
                  </a:cubicBezTo>
                  <a:lnTo>
                    <a:pt x="93" y="222"/>
                  </a:lnTo>
                  <a:close/>
                  <a:moveTo>
                    <a:pt x="93" y="222"/>
                  </a:moveTo>
                  <a:cubicBezTo>
                    <a:pt x="93" y="222"/>
                    <a:pt x="93" y="222"/>
                    <a:pt x="93" y="2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1AC8E9C-657D-4F3C-8EE2-63680D62CB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2826" y="1468438"/>
              <a:ext cx="644525" cy="481013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4 w 256"/>
                <a:gd name="T5" fmla="*/ 34 h 191"/>
                <a:gd name="T6" fmla="*/ 33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1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4" y="34"/>
                  </a:cubicBezTo>
                  <a:cubicBezTo>
                    <a:pt x="0" y="59"/>
                    <a:pt x="8" y="91"/>
                    <a:pt x="33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9"/>
                    <a:pt x="187" y="191"/>
                    <a:pt x="196" y="191"/>
                  </a:cubicBezTo>
                  <a:cubicBezTo>
                    <a:pt x="214" y="191"/>
                    <a:pt x="231" y="181"/>
                    <a:pt x="241" y="164"/>
                  </a:cubicBezTo>
                  <a:cubicBezTo>
                    <a:pt x="256" y="140"/>
                    <a:pt x="247" y="108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D61BAD6-B415-4397-8DBB-D8266E2755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3413" y="2970213"/>
              <a:ext cx="658813" cy="263525"/>
            </a:xfrm>
            <a:custGeom>
              <a:avLst/>
              <a:gdLst>
                <a:gd name="T0" fmla="*/ 262 w 262"/>
                <a:gd name="T1" fmla="*/ 53 h 105"/>
                <a:gd name="T2" fmla="*/ 210 w 262"/>
                <a:gd name="T3" fmla="*/ 0 h 105"/>
                <a:gd name="T4" fmla="*/ 52 w 262"/>
                <a:gd name="T5" fmla="*/ 0 h 105"/>
                <a:gd name="T6" fmla="*/ 0 w 262"/>
                <a:gd name="T7" fmla="*/ 53 h 105"/>
                <a:gd name="T8" fmla="*/ 52 w 262"/>
                <a:gd name="T9" fmla="*/ 105 h 105"/>
                <a:gd name="T10" fmla="*/ 210 w 262"/>
                <a:gd name="T11" fmla="*/ 105 h 105"/>
                <a:gd name="T12" fmla="*/ 262 w 262"/>
                <a:gd name="T13" fmla="*/ 53 h 105"/>
                <a:gd name="T14" fmla="*/ 262 w 262"/>
                <a:gd name="T15" fmla="*/ 53 h 105"/>
                <a:gd name="T16" fmla="*/ 262 w 262"/>
                <a:gd name="T17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62" y="53"/>
                  </a:moveTo>
                  <a:cubicBezTo>
                    <a:pt x="262" y="24"/>
                    <a:pt x="239" y="0"/>
                    <a:pt x="21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39" y="105"/>
                    <a:pt x="262" y="82"/>
                    <a:pt x="262" y="53"/>
                  </a:cubicBezTo>
                  <a:close/>
                  <a:moveTo>
                    <a:pt x="262" y="53"/>
                  </a:moveTo>
                  <a:cubicBezTo>
                    <a:pt x="262" y="53"/>
                    <a:pt x="262" y="53"/>
                    <a:pt x="262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65EA5EA2-B646-42A1-A438-879756B20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2826" y="4240213"/>
              <a:ext cx="644525" cy="479425"/>
            </a:xfrm>
            <a:custGeom>
              <a:avLst/>
              <a:gdLst>
                <a:gd name="T0" fmla="*/ 170 w 256"/>
                <a:gd name="T1" fmla="*/ 14 h 191"/>
                <a:gd name="T2" fmla="*/ 33 w 256"/>
                <a:gd name="T3" fmla="*/ 93 h 191"/>
                <a:gd name="T4" fmla="*/ 14 w 256"/>
                <a:gd name="T5" fmla="*/ 164 h 191"/>
                <a:gd name="T6" fmla="*/ 59 w 256"/>
                <a:gd name="T7" fmla="*/ 191 h 191"/>
                <a:gd name="T8" fmla="*/ 86 w 256"/>
                <a:gd name="T9" fmla="*/ 184 h 191"/>
                <a:gd name="T10" fmla="*/ 222 w 256"/>
                <a:gd name="T11" fmla="*/ 105 h 191"/>
                <a:gd name="T12" fmla="*/ 241 w 256"/>
                <a:gd name="T13" fmla="*/ 33 h 191"/>
                <a:gd name="T14" fmla="*/ 170 w 256"/>
                <a:gd name="T15" fmla="*/ 14 h 191"/>
                <a:gd name="T16" fmla="*/ 170 w 256"/>
                <a:gd name="T17" fmla="*/ 14 h 191"/>
                <a:gd name="T18" fmla="*/ 170 w 256"/>
                <a:gd name="T19" fmla="*/ 1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170" y="14"/>
                  </a:moveTo>
                  <a:cubicBezTo>
                    <a:pt x="33" y="93"/>
                    <a:pt x="33" y="93"/>
                    <a:pt x="33" y="93"/>
                  </a:cubicBezTo>
                  <a:cubicBezTo>
                    <a:pt x="8" y="107"/>
                    <a:pt x="0" y="139"/>
                    <a:pt x="14" y="164"/>
                  </a:cubicBezTo>
                  <a:cubicBezTo>
                    <a:pt x="24" y="181"/>
                    <a:pt x="42" y="191"/>
                    <a:pt x="59" y="191"/>
                  </a:cubicBezTo>
                  <a:cubicBezTo>
                    <a:pt x="68" y="191"/>
                    <a:pt x="78" y="188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7" y="90"/>
                    <a:pt x="256" y="58"/>
                    <a:pt x="241" y="33"/>
                  </a:cubicBezTo>
                  <a:cubicBezTo>
                    <a:pt x="227" y="8"/>
                    <a:pt x="195" y="0"/>
                    <a:pt x="170" y="14"/>
                  </a:cubicBezTo>
                  <a:close/>
                  <a:moveTo>
                    <a:pt x="170" y="14"/>
                  </a:moveTo>
                  <a:cubicBezTo>
                    <a:pt x="170" y="14"/>
                    <a:pt x="170" y="14"/>
                    <a:pt x="170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B296C10-996A-48CD-9CDC-7F24C4F74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0251" y="4240213"/>
              <a:ext cx="644525" cy="479425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5 w 256"/>
                <a:gd name="T5" fmla="*/ 33 h 191"/>
                <a:gd name="T6" fmla="*/ 34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2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5" y="33"/>
                  </a:cubicBezTo>
                  <a:cubicBezTo>
                    <a:pt x="0" y="58"/>
                    <a:pt x="9" y="90"/>
                    <a:pt x="34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8"/>
                    <a:pt x="187" y="191"/>
                    <a:pt x="196" y="191"/>
                  </a:cubicBezTo>
                  <a:cubicBezTo>
                    <a:pt x="214" y="191"/>
                    <a:pt x="232" y="181"/>
                    <a:pt x="242" y="164"/>
                  </a:cubicBezTo>
                  <a:cubicBezTo>
                    <a:pt x="256" y="139"/>
                    <a:pt x="248" y="107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E0300689-5E3C-4F44-96F1-03959819DE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5376" y="2970213"/>
              <a:ext cx="658813" cy="263525"/>
            </a:xfrm>
            <a:custGeom>
              <a:avLst/>
              <a:gdLst>
                <a:gd name="T0" fmla="*/ 209 w 262"/>
                <a:gd name="T1" fmla="*/ 0 h 105"/>
                <a:gd name="T2" fmla="*/ 52 w 262"/>
                <a:gd name="T3" fmla="*/ 0 h 105"/>
                <a:gd name="T4" fmla="*/ 0 w 262"/>
                <a:gd name="T5" fmla="*/ 53 h 105"/>
                <a:gd name="T6" fmla="*/ 52 w 262"/>
                <a:gd name="T7" fmla="*/ 105 h 105"/>
                <a:gd name="T8" fmla="*/ 209 w 262"/>
                <a:gd name="T9" fmla="*/ 105 h 105"/>
                <a:gd name="T10" fmla="*/ 262 w 262"/>
                <a:gd name="T11" fmla="*/ 53 h 105"/>
                <a:gd name="T12" fmla="*/ 209 w 262"/>
                <a:gd name="T13" fmla="*/ 0 h 105"/>
                <a:gd name="T14" fmla="*/ 209 w 262"/>
                <a:gd name="T15" fmla="*/ 0 h 105"/>
                <a:gd name="T16" fmla="*/ 209 w 262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0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38" y="105"/>
                    <a:pt x="262" y="82"/>
                    <a:pt x="262" y="53"/>
                  </a:cubicBezTo>
                  <a:cubicBezTo>
                    <a:pt x="262" y="24"/>
                    <a:pt x="238" y="0"/>
                    <a:pt x="209" y="0"/>
                  </a:cubicBezTo>
                  <a:close/>
                  <a:moveTo>
                    <a:pt x="209" y="0"/>
                  </a:moveTo>
                  <a:cubicBezTo>
                    <a:pt x="209" y="0"/>
                    <a:pt x="209" y="0"/>
                    <a:pt x="20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98656847-C078-4A2B-8E1C-DCE9BE3C10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0251" y="1468438"/>
              <a:ext cx="644525" cy="481013"/>
            </a:xfrm>
            <a:custGeom>
              <a:avLst/>
              <a:gdLst>
                <a:gd name="T0" fmla="*/ 60 w 256"/>
                <a:gd name="T1" fmla="*/ 191 h 191"/>
                <a:gd name="T2" fmla="*/ 86 w 256"/>
                <a:gd name="T3" fmla="*/ 184 h 191"/>
                <a:gd name="T4" fmla="*/ 222 w 256"/>
                <a:gd name="T5" fmla="*/ 105 h 191"/>
                <a:gd name="T6" fmla="*/ 242 w 256"/>
                <a:gd name="T7" fmla="*/ 34 h 191"/>
                <a:gd name="T8" fmla="*/ 170 w 256"/>
                <a:gd name="T9" fmla="*/ 14 h 191"/>
                <a:gd name="T10" fmla="*/ 34 w 256"/>
                <a:gd name="T11" fmla="*/ 93 h 191"/>
                <a:gd name="T12" fmla="*/ 15 w 256"/>
                <a:gd name="T13" fmla="*/ 164 h 191"/>
                <a:gd name="T14" fmla="*/ 60 w 256"/>
                <a:gd name="T15" fmla="*/ 191 h 191"/>
                <a:gd name="T16" fmla="*/ 60 w 256"/>
                <a:gd name="T17" fmla="*/ 191 h 191"/>
                <a:gd name="T18" fmla="*/ 60 w 256"/>
                <a:gd name="T1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60" y="191"/>
                  </a:moveTo>
                  <a:cubicBezTo>
                    <a:pt x="69" y="191"/>
                    <a:pt x="78" y="189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8" y="91"/>
                    <a:pt x="256" y="59"/>
                    <a:pt x="242" y="34"/>
                  </a:cubicBezTo>
                  <a:cubicBezTo>
                    <a:pt x="227" y="8"/>
                    <a:pt x="195" y="0"/>
                    <a:pt x="170" y="14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9" y="108"/>
                    <a:pt x="0" y="140"/>
                    <a:pt x="15" y="164"/>
                  </a:cubicBezTo>
                  <a:cubicBezTo>
                    <a:pt x="24" y="181"/>
                    <a:pt x="42" y="191"/>
                    <a:pt x="60" y="191"/>
                  </a:cubicBezTo>
                  <a:close/>
                  <a:moveTo>
                    <a:pt x="60" y="191"/>
                  </a:moveTo>
                  <a:cubicBezTo>
                    <a:pt x="60" y="191"/>
                    <a:pt x="60" y="191"/>
                    <a:pt x="60" y="1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7EDEFC1F-841C-4039-B0CE-1A430DD17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0451" y="382588"/>
              <a:ext cx="498475" cy="623888"/>
            </a:xfrm>
            <a:custGeom>
              <a:avLst/>
              <a:gdLst>
                <a:gd name="T0" fmla="*/ 33 w 198"/>
                <a:gd name="T1" fmla="*/ 241 h 248"/>
                <a:gd name="T2" fmla="*/ 59 w 198"/>
                <a:gd name="T3" fmla="*/ 248 h 248"/>
                <a:gd name="T4" fmla="*/ 105 w 198"/>
                <a:gd name="T5" fmla="*/ 222 h 248"/>
                <a:gd name="T6" fmla="*/ 183 w 198"/>
                <a:gd name="T7" fmla="*/ 86 h 248"/>
                <a:gd name="T8" fmla="*/ 164 w 198"/>
                <a:gd name="T9" fmla="*/ 14 h 248"/>
                <a:gd name="T10" fmla="*/ 93 w 198"/>
                <a:gd name="T11" fmla="*/ 33 h 248"/>
                <a:gd name="T12" fmla="*/ 14 w 198"/>
                <a:gd name="T13" fmla="*/ 170 h 248"/>
                <a:gd name="T14" fmla="*/ 33 w 198"/>
                <a:gd name="T15" fmla="*/ 241 h 248"/>
                <a:gd name="T16" fmla="*/ 33 w 198"/>
                <a:gd name="T17" fmla="*/ 241 h 248"/>
                <a:gd name="T18" fmla="*/ 33 w 198"/>
                <a:gd name="T19" fmla="*/ 24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33" y="241"/>
                  </a:moveTo>
                  <a:cubicBezTo>
                    <a:pt x="42" y="246"/>
                    <a:pt x="51" y="248"/>
                    <a:pt x="59" y="248"/>
                  </a:cubicBezTo>
                  <a:cubicBezTo>
                    <a:pt x="78" y="248"/>
                    <a:pt x="95" y="239"/>
                    <a:pt x="105" y="222"/>
                  </a:cubicBezTo>
                  <a:cubicBezTo>
                    <a:pt x="183" y="86"/>
                    <a:pt x="183" y="86"/>
                    <a:pt x="183" y="86"/>
                  </a:cubicBezTo>
                  <a:cubicBezTo>
                    <a:pt x="198" y="61"/>
                    <a:pt x="189" y="29"/>
                    <a:pt x="164" y="14"/>
                  </a:cubicBezTo>
                  <a:cubicBezTo>
                    <a:pt x="139" y="0"/>
                    <a:pt x="107" y="8"/>
                    <a:pt x="93" y="33"/>
                  </a:cubicBezTo>
                  <a:cubicBezTo>
                    <a:pt x="14" y="170"/>
                    <a:pt x="14" y="170"/>
                    <a:pt x="14" y="170"/>
                  </a:cubicBezTo>
                  <a:cubicBezTo>
                    <a:pt x="0" y="195"/>
                    <a:pt x="8" y="227"/>
                    <a:pt x="33" y="241"/>
                  </a:cubicBezTo>
                  <a:close/>
                  <a:moveTo>
                    <a:pt x="33" y="241"/>
                  </a:moveTo>
                  <a:cubicBezTo>
                    <a:pt x="33" y="241"/>
                    <a:pt x="33" y="241"/>
                    <a:pt x="33" y="2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2FEC8498-6478-4416-9928-3932982E3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6301" y="1993900"/>
              <a:ext cx="635000" cy="2054225"/>
            </a:xfrm>
            <a:custGeom>
              <a:avLst/>
              <a:gdLst>
                <a:gd name="T0" fmla="*/ 56 w 252"/>
                <a:gd name="T1" fmla="*/ 758 h 817"/>
                <a:gd name="T2" fmla="*/ 126 w 252"/>
                <a:gd name="T3" fmla="*/ 817 h 817"/>
                <a:gd name="T4" fmla="*/ 196 w 252"/>
                <a:gd name="T5" fmla="*/ 758 h 817"/>
                <a:gd name="T6" fmla="*/ 246 w 252"/>
                <a:gd name="T7" fmla="*/ 384 h 817"/>
                <a:gd name="T8" fmla="*/ 252 w 252"/>
                <a:gd name="T9" fmla="*/ 309 h 817"/>
                <a:gd name="T10" fmla="*/ 252 w 252"/>
                <a:gd name="T11" fmla="*/ 123 h 817"/>
                <a:gd name="T12" fmla="*/ 126 w 252"/>
                <a:gd name="T13" fmla="*/ 0 h 817"/>
                <a:gd name="T14" fmla="*/ 0 w 252"/>
                <a:gd name="T15" fmla="*/ 123 h 817"/>
                <a:gd name="T16" fmla="*/ 0 w 252"/>
                <a:gd name="T17" fmla="*/ 309 h 817"/>
                <a:gd name="T18" fmla="*/ 6 w 252"/>
                <a:gd name="T19" fmla="*/ 384 h 817"/>
                <a:gd name="T20" fmla="*/ 56 w 252"/>
                <a:gd name="T21" fmla="*/ 758 h 817"/>
                <a:gd name="T22" fmla="*/ 56 w 252"/>
                <a:gd name="T23" fmla="*/ 758 h 817"/>
                <a:gd name="T24" fmla="*/ 56 w 252"/>
                <a:gd name="T25" fmla="*/ 758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2" h="817">
                  <a:moveTo>
                    <a:pt x="56" y="758"/>
                  </a:moveTo>
                  <a:cubicBezTo>
                    <a:pt x="62" y="804"/>
                    <a:pt x="84" y="817"/>
                    <a:pt x="126" y="817"/>
                  </a:cubicBezTo>
                  <a:cubicBezTo>
                    <a:pt x="167" y="817"/>
                    <a:pt x="190" y="804"/>
                    <a:pt x="196" y="758"/>
                  </a:cubicBezTo>
                  <a:cubicBezTo>
                    <a:pt x="246" y="384"/>
                    <a:pt x="246" y="384"/>
                    <a:pt x="246" y="384"/>
                  </a:cubicBezTo>
                  <a:cubicBezTo>
                    <a:pt x="249" y="358"/>
                    <a:pt x="252" y="332"/>
                    <a:pt x="252" y="309"/>
                  </a:cubicBezTo>
                  <a:cubicBezTo>
                    <a:pt x="252" y="123"/>
                    <a:pt x="252" y="123"/>
                    <a:pt x="252" y="123"/>
                  </a:cubicBezTo>
                  <a:cubicBezTo>
                    <a:pt x="252" y="42"/>
                    <a:pt x="206" y="0"/>
                    <a:pt x="126" y="0"/>
                  </a:cubicBezTo>
                  <a:cubicBezTo>
                    <a:pt x="46" y="0"/>
                    <a:pt x="0" y="42"/>
                    <a:pt x="0" y="123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32"/>
                    <a:pt x="3" y="358"/>
                    <a:pt x="6" y="384"/>
                  </a:cubicBezTo>
                  <a:lnTo>
                    <a:pt x="56" y="758"/>
                  </a:lnTo>
                  <a:close/>
                  <a:moveTo>
                    <a:pt x="56" y="758"/>
                  </a:moveTo>
                  <a:cubicBezTo>
                    <a:pt x="56" y="758"/>
                    <a:pt x="56" y="758"/>
                    <a:pt x="56" y="7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5FD8227A-FE63-4D73-B851-6F23F7252C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5188" y="4310063"/>
              <a:ext cx="657225" cy="658813"/>
            </a:xfrm>
            <a:custGeom>
              <a:avLst/>
              <a:gdLst>
                <a:gd name="T0" fmla="*/ 131 w 262"/>
                <a:gd name="T1" fmla="*/ 0 h 262"/>
                <a:gd name="T2" fmla="*/ 0 w 262"/>
                <a:gd name="T3" fmla="*/ 131 h 262"/>
                <a:gd name="T4" fmla="*/ 131 w 262"/>
                <a:gd name="T5" fmla="*/ 262 h 262"/>
                <a:gd name="T6" fmla="*/ 262 w 262"/>
                <a:gd name="T7" fmla="*/ 131 h 262"/>
                <a:gd name="T8" fmla="*/ 131 w 262"/>
                <a:gd name="T9" fmla="*/ 0 h 262"/>
                <a:gd name="T10" fmla="*/ 131 w 262"/>
                <a:gd name="T11" fmla="*/ 0 h 262"/>
                <a:gd name="T12" fmla="*/ 131 w 262"/>
                <a:gd name="T1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" h="262">
                  <a:moveTo>
                    <a:pt x="131" y="0"/>
                  </a:moveTo>
                  <a:cubicBezTo>
                    <a:pt x="59" y="0"/>
                    <a:pt x="0" y="59"/>
                    <a:pt x="0" y="131"/>
                  </a:cubicBezTo>
                  <a:cubicBezTo>
                    <a:pt x="0" y="202"/>
                    <a:pt x="59" y="262"/>
                    <a:pt x="131" y="262"/>
                  </a:cubicBezTo>
                  <a:cubicBezTo>
                    <a:pt x="203" y="262"/>
                    <a:pt x="262" y="202"/>
                    <a:pt x="262" y="131"/>
                  </a:cubicBezTo>
                  <a:cubicBezTo>
                    <a:pt x="262" y="59"/>
                    <a:pt x="203" y="0"/>
                    <a:pt x="131" y="0"/>
                  </a:cubicBezTo>
                  <a:close/>
                  <a:moveTo>
                    <a:pt x="131" y="0"/>
                  </a:moveTo>
                  <a:cubicBezTo>
                    <a:pt x="131" y="0"/>
                    <a:pt x="131" y="0"/>
                    <a:pt x="1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6872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y NOT explainable AI?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3779912" y="1669724"/>
            <a:ext cx="4953261" cy="27363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Paradoxically: distrust (if uncovering complex, opaque processes and algorithms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>
              <a:latin typeface="Univers 57 Condensed" panose="00000400000000000000" pitchFamily="2" charset="0"/>
            </a:endParaRPr>
          </a:p>
        </p:txBody>
      </p:sp>
      <p:pic>
        <p:nvPicPr>
          <p:cNvPr id="8" name="Picture 2" descr="Image result for animal surprise">
            <a:extLst>
              <a:ext uri="{FF2B5EF4-FFF2-40B4-BE49-F238E27FC236}">
                <a16:creationId xmlns:a16="http://schemas.microsoft.com/office/drawing/2014/main" id="{3B243283-4A43-4C6B-B2EE-A183AC474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27" y="632726"/>
            <a:ext cx="2830850" cy="3773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006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y NOT explainable AI?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3995936" y="1059582"/>
            <a:ext cx="3960440" cy="35283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Commercial sensitivity and ‘gaming the system’ </a:t>
            </a:r>
          </a:p>
          <a:p>
            <a:pPr marL="285750" indent="-285750">
              <a:spcBef>
                <a:spcPts val="0"/>
              </a:spcBef>
              <a:buSzPts val="1400"/>
              <a:buFont typeface="Arial"/>
              <a:buChar char="•"/>
            </a:pPr>
            <a:endParaRPr lang="en-GB" sz="1800" dirty="0">
              <a:solidFill>
                <a:schemeClr val="tx1"/>
              </a:solidFill>
              <a:latin typeface="Univers" panose="020B0503020202020204" pitchFamily="34" charset="0"/>
              <a:ea typeface="Arial"/>
              <a:cs typeface="Arial"/>
              <a:sym typeface="Arial"/>
            </a:endParaRPr>
          </a:p>
          <a:p>
            <a:pPr marL="558396" lvl="1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‘</a:t>
            </a:r>
            <a:r>
              <a:rPr lang="en-GB" sz="1400" i="1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If I was rejected for a loan because I have too many credit cards, I can just get rid of some of them and then I will be approved, right?’</a:t>
            </a:r>
          </a:p>
          <a:p>
            <a:pPr marL="272646" lvl="1" indent="0">
              <a:spcBef>
                <a:spcPts val="0"/>
              </a:spcBef>
              <a:buSzPts val="1400"/>
              <a:buNone/>
            </a:pPr>
            <a:endParaRPr lang="en-US" dirty="0">
              <a:latin typeface="Univers 57 Condensed" panose="00000400000000000000" pitchFamily="2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F184F2F-FFA8-4C63-98B5-57E34FF162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00" y="637284"/>
            <a:ext cx="2726054" cy="4087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79522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y NOT explainable AI?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4355976" y="1563638"/>
            <a:ext cx="3960440" cy="34563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Commercial sensitivity and ‘gaming the system’ </a:t>
            </a:r>
          </a:p>
          <a:p>
            <a:pPr marL="285750" indent="-285750">
              <a:spcBef>
                <a:spcPts val="0"/>
              </a:spcBef>
              <a:buSzPts val="1400"/>
              <a:buFont typeface="Arial"/>
              <a:buChar char="•"/>
            </a:pPr>
            <a:endParaRPr lang="en-GB" sz="1800" dirty="0">
              <a:solidFill>
                <a:schemeClr val="tx1"/>
              </a:solidFill>
              <a:latin typeface="Univers" panose="020B0503020202020204" pitchFamily="34" charset="0"/>
              <a:ea typeface="Arial"/>
              <a:cs typeface="Arial"/>
              <a:sym typeface="Arial"/>
            </a:endParaRPr>
          </a:p>
          <a:p>
            <a:pPr marL="558396" lvl="1" indent="-285750">
              <a:spcBef>
                <a:spcPts val="0"/>
              </a:spcBef>
              <a:buSzPts val="1400"/>
              <a:buFont typeface="Arial"/>
              <a:buChar char="•"/>
            </a:pPr>
            <a:r>
              <a:rPr lang="en-GB" sz="1400" i="1" dirty="0">
                <a:solidFill>
                  <a:schemeClr val="tx1"/>
                </a:solidFill>
                <a:latin typeface="Univers" panose="020B0503020202020204" pitchFamily="34" charset="0"/>
                <a:cs typeface="Arial"/>
                <a:sym typeface="Arial"/>
              </a:rPr>
              <a:t>‘If my transaction behaviour is flagged as suspicious because I sent many small amounts to specific accounts, if I do it more subtly, then I will be fine.’</a:t>
            </a: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400" i="1" dirty="0">
              <a:solidFill>
                <a:schemeClr val="tx1"/>
              </a:solidFill>
              <a:latin typeface="Univers" panose="020B0503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dirty="0">
              <a:latin typeface="Univers 57 Condensed" panose="000004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ED6A06-AA5B-4FCB-8AF4-D165015C1C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43" t="12717" r="3337"/>
          <a:stretch/>
        </p:blipFill>
        <p:spPr>
          <a:xfrm>
            <a:off x="-60048" y="1311610"/>
            <a:ext cx="4200000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84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25AB2DBC-6283-4771-A57B-F9DFAEB1F9AE}"/>
              </a:ext>
            </a:extLst>
          </p:cNvPr>
          <p:cNvSpPr txBox="1">
            <a:spLocks/>
          </p:cNvSpPr>
          <p:nvPr/>
        </p:nvSpPr>
        <p:spPr>
          <a:xfrm>
            <a:off x="456200" y="298043"/>
            <a:ext cx="8543624" cy="3002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nl-NL" sz="1500" b="1" i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Univers 57 Condensed" panose="00000400000000000000" pitchFamily="2" charset="0"/>
              </a:rPr>
              <a:t>What is a good explanation (for humans)?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E9ED6FA-9E53-4469-925D-55C85E5AA947}"/>
              </a:ext>
            </a:extLst>
          </p:cNvPr>
          <p:cNvSpPr txBox="1">
            <a:spLocks/>
          </p:cNvSpPr>
          <p:nvPr/>
        </p:nvSpPr>
        <p:spPr>
          <a:xfrm>
            <a:off x="1381688" y="1635646"/>
            <a:ext cx="7200800" cy="2880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9315" indent="-289315" algn="l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tabLst>
                <a:tab pos="272648" algn="l"/>
              </a:tabLst>
              <a:defRPr lang="nl-NL" sz="12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>
              <a:spcBef>
                <a:spcPts val="600"/>
              </a:spcBef>
              <a:buSzPts val="1200"/>
              <a:buFont typeface="Arial"/>
              <a:buChar char="•"/>
            </a:pPr>
            <a:r>
              <a:rPr lang="en-GB" sz="1800" b="1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Contrastive </a:t>
            </a: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: why a prediction was made instead of another prediction</a:t>
            </a:r>
          </a:p>
          <a:p>
            <a:pPr marL="628650" lvl="1" indent="-171450">
              <a:spcBef>
                <a:spcPts val="0"/>
              </a:spcBef>
              <a:buSzPts val="1200"/>
              <a:buFont typeface="Arial"/>
              <a:buChar char="•"/>
            </a:pPr>
            <a:r>
              <a:rPr lang="en-GB" sz="1800" i="1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Why was my loan application rejected, i.e. what factors should I change to make it successful?</a:t>
            </a:r>
            <a:endParaRPr lang="en-GB" sz="1800" dirty="0">
              <a:solidFill>
                <a:schemeClr val="tx1"/>
              </a:solidFill>
              <a:latin typeface="Univers" panose="020B0503020202020204" pitchFamily="34" charset="0"/>
              <a:ea typeface="Arial"/>
              <a:cs typeface="Arial"/>
              <a:sym typeface="Arial"/>
            </a:endParaRPr>
          </a:p>
          <a:p>
            <a:pPr marL="171450" lvl="0" indent="-171450">
              <a:spcBef>
                <a:spcPts val="600"/>
              </a:spcBef>
              <a:buSzPts val="1200"/>
              <a:buFont typeface="Arial"/>
              <a:buChar char="•"/>
            </a:pPr>
            <a:r>
              <a:rPr lang="en-GB" sz="1800" b="1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Selective</a:t>
            </a: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: a list of important drivers that explain an outcome </a:t>
            </a:r>
          </a:p>
          <a:p>
            <a:pPr marL="171450" lvl="0" indent="-171450">
              <a:spcBef>
                <a:spcPts val="600"/>
              </a:spcBef>
              <a:buSzPts val="1200"/>
              <a:buFont typeface="Arial"/>
              <a:buChar char="•"/>
            </a:pPr>
            <a:r>
              <a:rPr lang="en-GB" sz="1800" b="1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Consistent with prior beliefs</a:t>
            </a:r>
            <a:r>
              <a:rPr lang="en-GB" sz="1800" dirty="0">
                <a:solidFill>
                  <a:schemeClr val="tx1"/>
                </a:solidFill>
                <a:latin typeface="Univers" panose="020B0503020202020204" pitchFamily="34" charset="0"/>
                <a:ea typeface="Arial"/>
                <a:cs typeface="Arial"/>
                <a:sym typeface="Arial"/>
              </a:rPr>
              <a:t>: in accordance with intuitio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>
              <a:latin typeface="Univers 57 Condensed" panose="00000400000000000000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B89CCA3-4FDE-4D41-A982-B45177818A22}"/>
              </a:ext>
            </a:extLst>
          </p:cNvPr>
          <p:cNvGrpSpPr/>
          <p:nvPr/>
        </p:nvGrpSpPr>
        <p:grpSpPr>
          <a:xfrm>
            <a:off x="323528" y="2258100"/>
            <a:ext cx="659409" cy="627300"/>
            <a:chOff x="-5157788" y="-279400"/>
            <a:chExt cx="7004050" cy="6850063"/>
          </a:xfrm>
          <a:solidFill>
            <a:schemeClr val="bg2"/>
          </a:solidFill>
        </p:grpSpPr>
        <p:sp>
          <p:nvSpPr>
            <p:cNvPr id="9" name="Freeform 59">
              <a:extLst>
                <a:ext uri="{FF2B5EF4-FFF2-40B4-BE49-F238E27FC236}">
                  <a16:creationId xmlns:a16="http://schemas.microsoft.com/office/drawing/2014/main" id="{2E900D9D-BBE7-4383-826C-60A45C13A7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68613" y="-234950"/>
              <a:ext cx="3330575" cy="5497513"/>
            </a:xfrm>
            <a:custGeom>
              <a:avLst/>
              <a:gdLst>
                <a:gd name="T0" fmla="*/ 1104 w 1367"/>
                <a:gd name="T1" fmla="*/ 2156 h 2256"/>
                <a:gd name="T2" fmla="*/ 905 w 1367"/>
                <a:gd name="T3" fmla="*/ 1253 h 2256"/>
                <a:gd name="T4" fmla="*/ 1294 w 1367"/>
                <a:gd name="T5" fmla="*/ 1253 h 2256"/>
                <a:gd name="T6" fmla="*/ 1367 w 1367"/>
                <a:gd name="T7" fmla="*/ 1179 h 2256"/>
                <a:gd name="T8" fmla="*/ 1367 w 1367"/>
                <a:gd name="T9" fmla="*/ 73 h 2256"/>
                <a:gd name="T10" fmla="*/ 1294 w 1367"/>
                <a:gd name="T11" fmla="*/ 0 h 2256"/>
                <a:gd name="T12" fmla="*/ 74 w 1367"/>
                <a:gd name="T13" fmla="*/ 0 h 2256"/>
                <a:gd name="T14" fmla="*/ 0 w 1367"/>
                <a:gd name="T15" fmla="*/ 73 h 2256"/>
                <a:gd name="T16" fmla="*/ 0 w 1367"/>
                <a:gd name="T17" fmla="*/ 591 h 2256"/>
                <a:gd name="T18" fmla="*/ 53 w 1367"/>
                <a:gd name="T19" fmla="*/ 529 h 2256"/>
                <a:gd name="T20" fmla="*/ 147 w 1367"/>
                <a:gd name="T21" fmla="*/ 474 h 2256"/>
                <a:gd name="T22" fmla="*/ 147 w 1367"/>
                <a:gd name="T23" fmla="*/ 146 h 2256"/>
                <a:gd name="T24" fmla="*/ 1220 w 1367"/>
                <a:gd name="T25" fmla="*/ 146 h 2256"/>
                <a:gd name="T26" fmla="*/ 1220 w 1367"/>
                <a:gd name="T27" fmla="*/ 1106 h 2256"/>
                <a:gd name="T28" fmla="*/ 147 w 1367"/>
                <a:gd name="T29" fmla="*/ 1106 h 2256"/>
                <a:gd name="T30" fmla="*/ 147 w 1367"/>
                <a:gd name="T31" fmla="*/ 945 h 2256"/>
                <a:gd name="T32" fmla="*/ 114 w 1367"/>
                <a:gd name="T33" fmla="*/ 984 h 2256"/>
                <a:gd name="T34" fmla="*/ 0 w 1367"/>
                <a:gd name="T35" fmla="*/ 1043 h 2256"/>
                <a:gd name="T36" fmla="*/ 0 w 1367"/>
                <a:gd name="T37" fmla="*/ 1179 h 2256"/>
                <a:gd name="T38" fmla="*/ 74 w 1367"/>
                <a:gd name="T39" fmla="*/ 1253 h 2256"/>
                <a:gd name="T40" fmla="*/ 468 w 1367"/>
                <a:gd name="T41" fmla="*/ 1253 h 2256"/>
                <a:gd name="T42" fmla="*/ 338 w 1367"/>
                <a:gd name="T43" fmla="*/ 1842 h 2256"/>
                <a:gd name="T44" fmla="*/ 506 w 1367"/>
                <a:gd name="T45" fmla="*/ 1786 h 2256"/>
                <a:gd name="T46" fmla="*/ 623 w 1367"/>
                <a:gd name="T47" fmla="*/ 1253 h 2256"/>
                <a:gd name="T48" fmla="*/ 749 w 1367"/>
                <a:gd name="T49" fmla="*/ 1253 h 2256"/>
                <a:gd name="T50" fmla="*/ 955 w 1367"/>
                <a:gd name="T51" fmla="*/ 2189 h 2256"/>
                <a:gd name="T52" fmla="*/ 1046 w 1367"/>
                <a:gd name="T53" fmla="*/ 2247 h 2256"/>
                <a:gd name="T54" fmla="*/ 1104 w 1367"/>
                <a:gd name="T55" fmla="*/ 2156 h 2256"/>
                <a:gd name="T56" fmla="*/ 1104 w 1367"/>
                <a:gd name="T57" fmla="*/ 2156 h 2256"/>
                <a:gd name="T58" fmla="*/ 1104 w 1367"/>
                <a:gd name="T59" fmla="*/ 2156 h 2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67" h="2256">
                  <a:moveTo>
                    <a:pt x="1104" y="2156"/>
                  </a:moveTo>
                  <a:cubicBezTo>
                    <a:pt x="905" y="1253"/>
                    <a:pt x="905" y="1253"/>
                    <a:pt x="905" y="1253"/>
                  </a:cubicBezTo>
                  <a:cubicBezTo>
                    <a:pt x="1294" y="1253"/>
                    <a:pt x="1294" y="1253"/>
                    <a:pt x="1294" y="1253"/>
                  </a:cubicBezTo>
                  <a:cubicBezTo>
                    <a:pt x="1334" y="1253"/>
                    <a:pt x="1367" y="1220"/>
                    <a:pt x="1367" y="1179"/>
                  </a:cubicBezTo>
                  <a:cubicBezTo>
                    <a:pt x="1367" y="73"/>
                    <a:pt x="1367" y="73"/>
                    <a:pt x="1367" y="73"/>
                  </a:cubicBezTo>
                  <a:cubicBezTo>
                    <a:pt x="1367" y="32"/>
                    <a:pt x="1334" y="0"/>
                    <a:pt x="129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33" y="0"/>
                    <a:pt x="0" y="32"/>
                    <a:pt x="0" y="73"/>
                  </a:cubicBezTo>
                  <a:cubicBezTo>
                    <a:pt x="0" y="591"/>
                    <a:pt x="0" y="591"/>
                    <a:pt x="0" y="591"/>
                  </a:cubicBezTo>
                  <a:cubicBezTo>
                    <a:pt x="53" y="529"/>
                    <a:pt x="53" y="529"/>
                    <a:pt x="53" y="529"/>
                  </a:cubicBezTo>
                  <a:cubicBezTo>
                    <a:pt x="79" y="500"/>
                    <a:pt x="112" y="481"/>
                    <a:pt x="147" y="474"/>
                  </a:cubicBezTo>
                  <a:cubicBezTo>
                    <a:pt x="147" y="146"/>
                    <a:pt x="147" y="146"/>
                    <a:pt x="147" y="146"/>
                  </a:cubicBezTo>
                  <a:cubicBezTo>
                    <a:pt x="1220" y="146"/>
                    <a:pt x="1220" y="146"/>
                    <a:pt x="1220" y="146"/>
                  </a:cubicBezTo>
                  <a:cubicBezTo>
                    <a:pt x="1220" y="1106"/>
                    <a:pt x="1220" y="1106"/>
                    <a:pt x="1220" y="1106"/>
                  </a:cubicBezTo>
                  <a:cubicBezTo>
                    <a:pt x="147" y="1106"/>
                    <a:pt x="147" y="1106"/>
                    <a:pt x="147" y="1106"/>
                  </a:cubicBezTo>
                  <a:cubicBezTo>
                    <a:pt x="147" y="945"/>
                    <a:pt x="147" y="945"/>
                    <a:pt x="147" y="945"/>
                  </a:cubicBezTo>
                  <a:cubicBezTo>
                    <a:pt x="114" y="984"/>
                    <a:pt x="114" y="984"/>
                    <a:pt x="114" y="984"/>
                  </a:cubicBezTo>
                  <a:cubicBezTo>
                    <a:pt x="85" y="1018"/>
                    <a:pt x="44" y="1038"/>
                    <a:pt x="0" y="1043"/>
                  </a:cubicBezTo>
                  <a:cubicBezTo>
                    <a:pt x="0" y="1179"/>
                    <a:pt x="0" y="1179"/>
                    <a:pt x="0" y="1179"/>
                  </a:cubicBezTo>
                  <a:cubicBezTo>
                    <a:pt x="0" y="1220"/>
                    <a:pt x="33" y="1253"/>
                    <a:pt x="74" y="1253"/>
                  </a:cubicBezTo>
                  <a:cubicBezTo>
                    <a:pt x="468" y="1253"/>
                    <a:pt x="468" y="1253"/>
                    <a:pt x="468" y="1253"/>
                  </a:cubicBezTo>
                  <a:cubicBezTo>
                    <a:pt x="338" y="1842"/>
                    <a:pt x="338" y="1842"/>
                    <a:pt x="338" y="1842"/>
                  </a:cubicBezTo>
                  <a:cubicBezTo>
                    <a:pt x="386" y="1809"/>
                    <a:pt x="443" y="1789"/>
                    <a:pt x="506" y="1786"/>
                  </a:cubicBezTo>
                  <a:cubicBezTo>
                    <a:pt x="623" y="1253"/>
                    <a:pt x="623" y="1253"/>
                    <a:pt x="623" y="1253"/>
                  </a:cubicBezTo>
                  <a:cubicBezTo>
                    <a:pt x="749" y="1253"/>
                    <a:pt x="749" y="1253"/>
                    <a:pt x="749" y="1253"/>
                  </a:cubicBezTo>
                  <a:cubicBezTo>
                    <a:pt x="955" y="2189"/>
                    <a:pt x="955" y="2189"/>
                    <a:pt x="955" y="2189"/>
                  </a:cubicBezTo>
                  <a:cubicBezTo>
                    <a:pt x="964" y="2230"/>
                    <a:pt x="1006" y="2256"/>
                    <a:pt x="1046" y="2247"/>
                  </a:cubicBezTo>
                  <a:cubicBezTo>
                    <a:pt x="1087" y="2238"/>
                    <a:pt x="1113" y="2197"/>
                    <a:pt x="1104" y="2156"/>
                  </a:cubicBezTo>
                  <a:close/>
                  <a:moveTo>
                    <a:pt x="1104" y="2156"/>
                  </a:moveTo>
                  <a:cubicBezTo>
                    <a:pt x="1104" y="2156"/>
                    <a:pt x="1104" y="2156"/>
                    <a:pt x="1104" y="21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0" name="Freeform 60">
              <a:extLst>
                <a:ext uri="{FF2B5EF4-FFF2-40B4-BE49-F238E27FC236}">
                  <a16:creationId xmlns:a16="http://schemas.microsoft.com/office/drawing/2014/main" id="{BA5DBB10-C40D-4C02-8314-9E89DB84F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0563" y="1065213"/>
              <a:ext cx="1065213" cy="1085850"/>
            </a:xfrm>
            <a:custGeom>
              <a:avLst/>
              <a:gdLst>
                <a:gd name="T0" fmla="*/ 3 w 437"/>
                <a:gd name="T1" fmla="*/ 353 h 445"/>
                <a:gd name="T2" fmla="*/ 70 w 437"/>
                <a:gd name="T3" fmla="*/ 411 h 445"/>
                <a:gd name="T4" fmla="*/ 204 w 437"/>
                <a:gd name="T5" fmla="*/ 400 h 445"/>
                <a:gd name="T6" fmla="*/ 403 w 437"/>
                <a:gd name="T7" fmla="*/ 168 h 445"/>
                <a:gd name="T8" fmla="*/ 393 w 437"/>
                <a:gd name="T9" fmla="*/ 34 h 445"/>
                <a:gd name="T10" fmla="*/ 259 w 437"/>
                <a:gd name="T11" fmla="*/ 45 h 445"/>
                <a:gd name="T12" fmla="*/ 122 w 437"/>
                <a:gd name="T13" fmla="*/ 205 h 445"/>
                <a:gd name="T14" fmla="*/ 0 w 437"/>
                <a:gd name="T15" fmla="*/ 100 h 445"/>
                <a:gd name="T16" fmla="*/ 3 w 437"/>
                <a:gd name="T17" fmla="*/ 353 h 445"/>
                <a:gd name="T18" fmla="*/ 3 w 437"/>
                <a:gd name="T19" fmla="*/ 353 h 445"/>
                <a:gd name="T20" fmla="*/ 3 w 437"/>
                <a:gd name="T21" fmla="*/ 353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7" h="445">
                  <a:moveTo>
                    <a:pt x="3" y="353"/>
                  </a:moveTo>
                  <a:cubicBezTo>
                    <a:pt x="70" y="411"/>
                    <a:pt x="70" y="411"/>
                    <a:pt x="70" y="411"/>
                  </a:cubicBezTo>
                  <a:cubicBezTo>
                    <a:pt x="111" y="445"/>
                    <a:pt x="171" y="440"/>
                    <a:pt x="204" y="400"/>
                  </a:cubicBezTo>
                  <a:cubicBezTo>
                    <a:pt x="403" y="168"/>
                    <a:pt x="403" y="168"/>
                    <a:pt x="403" y="168"/>
                  </a:cubicBezTo>
                  <a:cubicBezTo>
                    <a:pt x="437" y="128"/>
                    <a:pt x="433" y="68"/>
                    <a:pt x="393" y="34"/>
                  </a:cubicBezTo>
                  <a:cubicBezTo>
                    <a:pt x="353" y="0"/>
                    <a:pt x="293" y="5"/>
                    <a:pt x="259" y="45"/>
                  </a:cubicBezTo>
                  <a:cubicBezTo>
                    <a:pt x="122" y="205"/>
                    <a:pt x="122" y="205"/>
                    <a:pt x="122" y="20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" y="141"/>
                    <a:pt x="3" y="309"/>
                    <a:pt x="3" y="353"/>
                  </a:cubicBezTo>
                  <a:close/>
                  <a:moveTo>
                    <a:pt x="3" y="353"/>
                  </a:moveTo>
                  <a:cubicBezTo>
                    <a:pt x="3" y="353"/>
                    <a:pt x="3" y="353"/>
                    <a:pt x="3" y="3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1" name="Freeform 61">
              <a:extLst>
                <a:ext uri="{FF2B5EF4-FFF2-40B4-BE49-F238E27FC236}">
                  <a16:creationId xmlns:a16="http://schemas.microsoft.com/office/drawing/2014/main" id="{5613640F-39A8-4E27-99B4-94C9F5C94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14850" y="-279400"/>
              <a:ext cx="1082675" cy="1082675"/>
            </a:xfrm>
            <a:custGeom>
              <a:avLst/>
              <a:gdLst>
                <a:gd name="T0" fmla="*/ 222 w 444"/>
                <a:gd name="T1" fmla="*/ 444 h 444"/>
                <a:gd name="T2" fmla="*/ 444 w 444"/>
                <a:gd name="T3" fmla="*/ 222 h 444"/>
                <a:gd name="T4" fmla="*/ 222 w 444"/>
                <a:gd name="T5" fmla="*/ 0 h 444"/>
                <a:gd name="T6" fmla="*/ 0 w 444"/>
                <a:gd name="T7" fmla="*/ 222 h 444"/>
                <a:gd name="T8" fmla="*/ 222 w 444"/>
                <a:gd name="T9" fmla="*/ 444 h 444"/>
                <a:gd name="T10" fmla="*/ 222 w 444"/>
                <a:gd name="T11" fmla="*/ 444 h 444"/>
                <a:gd name="T12" fmla="*/ 222 w 444"/>
                <a:gd name="T13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4" h="444">
                  <a:moveTo>
                    <a:pt x="222" y="444"/>
                  </a:moveTo>
                  <a:cubicBezTo>
                    <a:pt x="337" y="444"/>
                    <a:pt x="444" y="350"/>
                    <a:pt x="444" y="222"/>
                  </a:cubicBezTo>
                  <a:cubicBezTo>
                    <a:pt x="444" y="100"/>
                    <a:pt x="344" y="0"/>
                    <a:pt x="222" y="0"/>
                  </a:cubicBezTo>
                  <a:cubicBezTo>
                    <a:pt x="99" y="0"/>
                    <a:pt x="0" y="100"/>
                    <a:pt x="0" y="222"/>
                  </a:cubicBezTo>
                  <a:cubicBezTo>
                    <a:pt x="0" y="350"/>
                    <a:pt x="108" y="444"/>
                    <a:pt x="222" y="444"/>
                  </a:cubicBezTo>
                  <a:close/>
                  <a:moveTo>
                    <a:pt x="222" y="444"/>
                  </a:moveTo>
                  <a:cubicBezTo>
                    <a:pt x="222" y="444"/>
                    <a:pt x="222" y="444"/>
                    <a:pt x="222" y="4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3" name="Freeform 62">
              <a:extLst>
                <a:ext uri="{FF2B5EF4-FFF2-40B4-BE49-F238E27FC236}">
                  <a16:creationId xmlns:a16="http://schemas.microsoft.com/office/drawing/2014/main" id="{E7E75599-E637-4A9F-88B1-BA43D5095E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57788" y="908050"/>
              <a:ext cx="1749425" cy="3503613"/>
            </a:xfrm>
            <a:custGeom>
              <a:avLst/>
              <a:gdLst>
                <a:gd name="T0" fmla="*/ 373 w 718"/>
                <a:gd name="T1" fmla="*/ 677 h 1438"/>
                <a:gd name="T2" fmla="*/ 381 w 718"/>
                <a:gd name="T3" fmla="*/ 542 h 1438"/>
                <a:gd name="T4" fmla="*/ 240 w 718"/>
                <a:gd name="T5" fmla="*/ 385 h 1438"/>
                <a:gd name="T6" fmla="*/ 411 w 718"/>
                <a:gd name="T7" fmla="*/ 232 h 1438"/>
                <a:gd name="T8" fmla="*/ 321 w 718"/>
                <a:gd name="T9" fmla="*/ 361 h 1438"/>
                <a:gd name="T10" fmla="*/ 437 w 718"/>
                <a:gd name="T11" fmla="*/ 492 h 1438"/>
                <a:gd name="T12" fmla="*/ 424 w 718"/>
                <a:gd name="T13" fmla="*/ 733 h 1438"/>
                <a:gd name="T14" fmla="*/ 254 w 718"/>
                <a:gd name="T15" fmla="*/ 766 h 1438"/>
                <a:gd name="T16" fmla="*/ 255 w 718"/>
                <a:gd name="T17" fmla="*/ 1438 h 1438"/>
                <a:gd name="T18" fmla="*/ 483 w 718"/>
                <a:gd name="T19" fmla="*/ 1318 h 1438"/>
                <a:gd name="T20" fmla="*/ 483 w 718"/>
                <a:gd name="T21" fmla="*/ 997 h 1438"/>
                <a:gd name="T22" fmla="*/ 559 w 718"/>
                <a:gd name="T23" fmla="*/ 997 h 1438"/>
                <a:gd name="T24" fmla="*/ 559 w 718"/>
                <a:gd name="T25" fmla="*/ 1321 h 1438"/>
                <a:gd name="T26" fmla="*/ 718 w 718"/>
                <a:gd name="T27" fmla="*/ 1402 h 1438"/>
                <a:gd name="T28" fmla="*/ 718 w 718"/>
                <a:gd name="T29" fmla="*/ 191 h 1438"/>
                <a:gd name="T30" fmla="*/ 527 w 718"/>
                <a:gd name="T31" fmla="*/ 0 h 1438"/>
                <a:gd name="T32" fmla="*/ 445 w 718"/>
                <a:gd name="T33" fmla="*/ 0 h 1438"/>
                <a:gd name="T34" fmla="*/ 282 w 718"/>
                <a:gd name="T35" fmla="*/ 92 h 1438"/>
                <a:gd name="T36" fmla="*/ 285 w 718"/>
                <a:gd name="T37" fmla="*/ 91 h 1438"/>
                <a:gd name="T38" fmla="*/ 43 w 718"/>
                <a:gd name="T39" fmla="*/ 307 h 1438"/>
                <a:gd name="T40" fmla="*/ 35 w 718"/>
                <a:gd name="T41" fmla="*/ 441 h 1438"/>
                <a:gd name="T42" fmla="*/ 239 w 718"/>
                <a:gd name="T43" fmla="*/ 669 h 1438"/>
                <a:gd name="T44" fmla="*/ 373 w 718"/>
                <a:gd name="T45" fmla="*/ 677 h 1438"/>
                <a:gd name="T46" fmla="*/ 373 w 718"/>
                <a:gd name="T47" fmla="*/ 677 h 1438"/>
                <a:gd name="T48" fmla="*/ 373 w 718"/>
                <a:gd name="T49" fmla="*/ 677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8" h="1438">
                  <a:moveTo>
                    <a:pt x="373" y="677"/>
                  </a:moveTo>
                  <a:cubicBezTo>
                    <a:pt x="412" y="642"/>
                    <a:pt x="416" y="582"/>
                    <a:pt x="381" y="542"/>
                  </a:cubicBezTo>
                  <a:cubicBezTo>
                    <a:pt x="240" y="385"/>
                    <a:pt x="240" y="385"/>
                    <a:pt x="240" y="385"/>
                  </a:cubicBezTo>
                  <a:cubicBezTo>
                    <a:pt x="411" y="232"/>
                    <a:pt x="411" y="232"/>
                    <a:pt x="411" y="232"/>
                  </a:cubicBezTo>
                  <a:cubicBezTo>
                    <a:pt x="321" y="361"/>
                    <a:pt x="321" y="361"/>
                    <a:pt x="321" y="361"/>
                  </a:cubicBezTo>
                  <a:cubicBezTo>
                    <a:pt x="437" y="492"/>
                    <a:pt x="437" y="492"/>
                    <a:pt x="437" y="492"/>
                  </a:cubicBezTo>
                  <a:cubicBezTo>
                    <a:pt x="500" y="562"/>
                    <a:pt x="494" y="670"/>
                    <a:pt x="424" y="733"/>
                  </a:cubicBezTo>
                  <a:cubicBezTo>
                    <a:pt x="376" y="776"/>
                    <a:pt x="311" y="786"/>
                    <a:pt x="254" y="766"/>
                  </a:cubicBezTo>
                  <a:cubicBezTo>
                    <a:pt x="255" y="1438"/>
                    <a:pt x="255" y="1438"/>
                    <a:pt x="255" y="1438"/>
                  </a:cubicBezTo>
                  <a:cubicBezTo>
                    <a:pt x="309" y="1369"/>
                    <a:pt x="390" y="1323"/>
                    <a:pt x="483" y="1318"/>
                  </a:cubicBezTo>
                  <a:cubicBezTo>
                    <a:pt x="483" y="997"/>
                    <a:pt x="483" y="997"/>
                    <a:pt x="483" y="997"/>
                  </a:cubicBezTo>
                  <a:cubicBezTo>
                    <a:pt x="559" y="997"/>
                    <a:pt x="559" y="997"/>
                    <a:pt x="559" y="997"/>
                  </a:cubicBezTo>
                  <a:cubicBezTo>
                    <a:pt x="559" y="1321"/>
                    <a:pt x="559" y="1321"/>
                    <a:pt x="559" y="1321"/>
                  </a:cubicBezTo>
                  <a:cubicBezTo>
                    <a:pt x="620" y="1333"/>
                    <a:pt x="674" y="1361"/>
                    <a:pt x="718" y="1402"/>
                  </a:cubicBezTo>
                  <a:cubicBezTo>
                    <a:pt x="718" y="708"/>
                    <a:pt x="718" y="628"/>
                    <a:pt x="718" y="191"/>
                  </a:cubicBezTo>
                  <a:cubicBezTo>
                    <a:pt x="718" y="86"/>
                    <a:pt x="632" y="0"/>
                    <a:pt x="527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376" y="0"/>
                    <a:pt x="316" y="37"/>
                    <a:pt x="282" y="92"/>
                  </a:cubicBezTo>
                  <a:cubicBezTo>
                    <a:pt x="285" y="91"/>
                    <a:pt x="285" y="91"/>
                    <a:pt x="285" y="91"/>
                  </a:cubicBezTo>
                  <a:cubicBezTo>
                    <a:pt x="43" y="307"/>
                    <a:pt x="43" y="307"/>
                    <a:pt x="43" y="307"/>
                  </a:cubicBezTo>
                  <a:cubicBezTo>
                    <a:pt x="4" y="342"/>
                    <a:pt x="0" y="402"/>
                    <a:pt x="35" y="441"/>
                  </a:cubicBezTo>
                  <a:cubicBezTo>
                    <a:pt x="239" y="669"/>
                    <a:pt x="239" y="669"/>
                    <a:pt x="239" y="669"/>
                  </a:cubicBezTo>
                  <a:cubicBezTo>
                    <a:pt x="274" y="708"/>
                    <a:pt x="334" y="712"/>
                    <a:pt x="373" y="677"/>
                  </a:cubicBezTo>
                  <a:close/>
                  <a:moveTo>
                    <a:pt x="373" y="677"/>
                  </a:moveTo>
                  <a:cubicBezTo>
                    <a:pt x="373" y="677"/>
                    <a:pt x="373" y="677"/>
                    <a:pt x="373" y="6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4" name="Freeform 63">
              <a:extLst>
                <a:ext uri="{FF2B5EF4-FFF2-40B4-BE49-F238E27FC236}">
                  <a16:creationId xmlns:a16="http://schemas.microsoft.com/office/drawing/2014/main" id="{6A909229-13E7-4A09-B197-3E304C41C3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65350" y="376238"/>
              <a:ext cx="1920875" cy="1114425"/>
            </a:xfrm>
            <a:custGeom>
              <a:avLst/>
              <a:gdLst>
                <a:gd name="T0" fmla="*/ 788 w 788"/>
                <a:gd name="T1" fmla="*/ 409 h 457"/>
                <a:gd name="T2" fmla="*/ 741 w 788"/>
                <a:gd name="T3" fmla="*/ 362 h 457"/>
                <a:gd name="T4" fmla="*/ 557 w 788"/>
                <a:gd name="T5" fmla="*/ 362 h 457"/>
                <a:gd name="T6" fmla="*/ 434 w 788"/>
                <a:gd name="T7" fmla="*/ 205 h 457"/>
                <a:gd name="T8" fmla="*/ 369 w 788"/>
                <a:gd name="T9" fmla="*/ 196 h 457"/>
                <a:gd name="T10" fmla="*/ 228 w 788"/>
                <a:gd name="T11" fmla="*/ 303 h 457"/>
                <a:gd name="T12" fmla="*/ 96 w 788"/>
                <a:gd name="T13" fmla="*/ 33 h 457"/>
                <a:gd name="T14" fmla="*/ 33 w 788"/>
                <a:gd name="T15" fmla="*/ 12 h 457"/>
                <a:gd name="T16" fmla="*/ 11 w 788"/>
                <a:gd name="T17" fmla="*/ 75 h 457"/>
                <a:gd name="T18" fmla="*/ 168 w 788"/>
                <a:gd name="T19" fmla="*/ 396 h 457"/>
                <a:gd name="T20" fmla="*/ 199 w 788"/>
                <a:gd name="T21" fmla="*/ 421 h 457"/>
                <a:gd name="T22" fmla="*/ 239 w 788"/>
                <a:gd name="T23" fmla="*/ 413 h 457"/>
                <a:gd name="T24" fmla="*/ 389 w 788"/>
                <a:gd name="T25" fmla="*/ 300 h 457"/>
                <a:gd name="T26" fmla="*/ 497 w 788"/>
                <a:gd name="T27" fmla="*/ 439 h 457"/>
                <a:gd name="T28" fmla="*/ 534 w 788"/>
                <a:gd name="T29" fmla="*/ 457 h 457"/>
                <a:gd name="T30" fmla="*/ 741 w 788"/>
                <a:gd name="T31" fmla="*/ 457 h 457"/>
                <a:gd name="T32" fmla="*/ 788 w 788"/>
                <a:gd name="T33" fmla="*/ 409 h 457"/>
                <a:gd name="T34" fmla="*/ 788 w 788"/>
                <a:gd name="T35" fmla="*/ 409 h 457"/>
                <a:gd name="T36" fmla="*/ 788 w 788"/>
                <a:gd name="T37" fmla="*/ 409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8" h="457">
                  <a:moveTo>
                    <a:pt x="788" y="409"/>
                  </a:moveTo>
                  <a:cubicBezTo>
                    <a:pt x="788" y="383"/>
                    <a:pt x="767" y="362"/>
                    <a:pt x="741" y="362"/>
                  </a:cubicBezTo>
                  <a:cubicBezTo>
                    <a:pt x="557" y="362"/>
                    <a:pt x="557" y="362"/>
                    <a:pt x="557" y="362"/>
                  </a:cubicBezTo>
                  <a:cubicBezTo>
                    <a:pt x="434" y="205"/>
                    <a:pt x="434" y="205"/>
                    <a:pt x="434" y="205"/>
                  </a:cubicBezTo>
                  <a:cubicBezTo>
                    <a:pt x="418" y="185"/>
                    <a:pt x="389" y="181"/>
                    <a:pt x="369" y="196"/>
                  </a:cubicBezTo>
                  <a:cubicBezTo>
                    <a:pt x="228" y="303"/>
                    <a:pt x="228" y="303"/>
                    <a:pt x="228" y="303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85" y="10"/>
                    <a:pt x="56" y="0"/>
                    <a:pt x="33" y="12"/>
                  </a:cubicBezTo>
                  <a:cubicBezTo>
                    <a:pt x="10" y="23"/>
                    <a:pt x="0" y="51"/>
                    <a:pt x="11" y="75"/>
                  </a:cubicBezTo>
                  <a:cubicBezTo>
                    <a:pt x="168" y="396"/>
                    <a:pt x="168" y="396"/>
                    <a:pt x="168" y="396"/>
                  </a:cubicBezTo>
                  <a:cubicBezTo>
                    <a:pt x="174" y="409"/>
                    <a:pt x="185" y="418"/>
                    <a:pt x="199" y="421"/>
                  </a:cubicBezTo>
                  <a:cubicBezTo>
                    <a:pt x="213" y="425"/>
                    <a:pt x="227" y="422"/>
                    <a:pt x="239" y="413"/>
                  </a:cubicBezTo>
                  <a:cubicBezTo>
                    <a:pt x="389" y="300"/>
                    <a:pt x="389" y="300"/>
                    <a:pt x="389" y="300"/>
                  </a:cubicBezTo>
                  <a:cubicBezTo>
                    <a:pt x="497" y="439"/>
                    <a:pt x="497" y="439"/>
                    <a:pt x="497" y="439"/>
                  </a:cubicBezTo>
                  <a:cubicBezTo>
                    <a:pt x="506" y="450"/>
                    <a:pt x="520" y="457"/>
                    <a:pt x="534" y="457"/>
                  </a:cubicBezTo>
                  <a:cubicBezTo>
                    <a:pt x="741" y="457"/>
                    <a:pt x="741" y="457"/>
                    <a:pt x="741" y="457"/>
                  </a:cubicBezTo>
                  <a:cubicBezTo>
                    <a:pt x="767" y="457"/>
                    <a:pt x="788" y="436"/>
                    <a:pt x="788" y="409"/>
                  </a:cubicBezTo>
                  <a:close/>
                  <a:moveTo>
                    <a:pt x="788" y="409"/>
                  </a:moveTo>
                  <a:cubicBezTo>
                    <a:pt x="788" y="409"/>
                    <a:pt x="788" y="409"/>
                    <a:pt x="788" y="40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5" name="Freeform 64">
              <a:extLst>
                <a:ext uri="{FF2B5EF4-FFF2-40B4-BE49-F238E27FC236}">
                  <a16:creationId xmlns:a16="http://schemas.microsoft.com/office/drawing/2014/main" id="{5543C331-E8CA-4B9C-83FC-834B8DB954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7400" y="1787525"/>
              <a:ext cx="1636713" cy="231775"/>
            </a:xfrm>
            <a:custGeom>
              <a:avLst/>
              <a:gdLst>
                <a:gd name="T0" fmla="*/ 48 w 672"/>
                <a:gd name="T1" fmla="*/ 0 h 95"/>
                <a:gd name="T2" fmla="*/ 0 w 672"/>
                <a:gd name="T3" fmla="*/ 48 h 95"/>
                <a:gd name="T4" fmla="*/ 48 w 672"/>
                <a:gd name="T5" fmla="*/ 95 h 95"/>
                <a:gd name="T6" fmla="*/ 625 w 672"/>
                <a:gd name="T7" fmla="*/ 95 h 95"/>
                <a:gd name="T8" fmla="*/ 672 w 672"/>
                <a:gd name="T9" fmla="*/ 48 h 95"/>
                <a:gd name="T10" fmla="*/ 625 w 672"/>
                <a:gd name="T11" fmla="*/ 0 h 95"/>
                <a:gd name="T12" fmla="*/ 48 w 672"/>
                <a:gd name="T13" fmla="*/ 0 h 95"/>
                <a:gd name="T14" fmla="*/ 48 w 672"/>
                <a:gd name="T15" fmla="*/ 0 h 95"/>
                <a:gd name="T16" fmla="*/ 48 w 672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2" h="95">
                  <a:moveTo>
                    <a:pt x="48" y="0"/>
                  </a:move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21" y="95"/>
                    <a:pt x="48" y="95"/>
                  </a:cubicBezTo>
                  <a:cubicBezTo>
                    <a:pt x="625" y="95"/>
                    <a:pt x="625" y="95"/>
                    <a:pt x="625" y="95"/>
                  </a:cubicBezTo>
                  <a:cubicBezTo>
                    <a:pt x="651" y="95"/>
                    <a:pt x="672" y="74"/>
                    <a:pt x="672" y="48"/>
                  </a:cubicBezTo>
                  <a:cubicBezTo>
                    <a:pt x="672" y="21"/>
                    <a:pt x="651" y="0"/>
                    <a:pt x="625" y="0"/>
                  </a:cubicBezTo>
                  <a:lnTo>
                    <a:pt x="48" y="0"/>
                  </a:lnTo>
                  <a:close/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6" name="Freeform 65">
              <a:extLst>
                <a:ext uri="{FF2B5EF4-FFF2-40B4-BE49-F238E27FC236}">
                  <a16:creationId xmlns:a16="http://schemas.microsoft.com/office/drawing/2014/main" id="{D856CC4C-6BEF-4DF7-A94F-8C9229E36F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413" y="4287838"/>
              <a:ext cx="1193800" cy="1193800"/>
            </a:xfrm>
            <a:custGeom>
              <a:avLst/>
              <a:gdLst>
                <a:gd name="T0" fmla="*/ 0 w 490"/>
                <a:gd name="T1" fmla="*/ 245 h 490"/>
                <a:gd name="T2" fmla="*/ 245 w 490"/>
                <a:gd name="T3" fmla="*/ 490 h 490"/>
                <a:gd name="T4" fmla="*/ 490 w 490"/>
                <a:gd name="T5" fmla="*/ 245 h 490"/>
                <a:gd name="T6" fmla="*/ 245 w 490"/>
                <a:gd name="T7" fmla="*/ 0 h 490"/>
                <a:gd name="T8" fmla="*/ 0 w 490"/>
                <a:gd name="T9" fmla="*/ 245 h 490"/>
                <a:gd name="T10" fmla="*/ 0 w 490"/>
                <a:gd name="T11" fmla="*/ 245 h 490"/>
                <a:gd name="T12" fmla="*/ 0 w 490"/>
                <a:gd name="T13" fmla="*/ 245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0" h="490">
                  <a:moveTo>
                    <a:pt x="0" y="245"/>
                  </a:moveTo>
                  <a:cubicBezTo>
                    <a:pt x="0" y="380"/>
                    <a:pt x="110" y="490"/>
                    <a:pt x="245" y="490"/>
                  </a:cubicBezTo>
                  <a:cubicBezTo>
                    <a:pt x="381" y="490"/>
                    <a:pt x="490" y="380"/>
                    <a:pt x="490" y="245"/>
                  </a:cubicBezTo>
                  <a:cubicBezTo>
                    <a:pt x="490" y="109"/>
                    <a:pt x="381" y="0"/>
                    <a:pt x="245" y="0"/>
                  </a:cubicBezTo>
                  <a:cubicBezTo>
                    <a:pt x="110" y="0"/>
                    <a:pt x="0" y="109"/>
                    <a:pt x="0" y="245"/>
                  </a:cubicBezTo>
                  <a:close/>
                  <a:moveTo>
                    <a:pt x="0" y="245"/>
                  </a:moveTo>
                  <a:cubicBezTo>
                    <a:pt x="0" y="245"/>
                    <a:pt x="0" y="245"/>
                    <a:pt x="0" y="2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7" name="Freeform 66">
              <a:extLst>
                <a:ext uri="{FF2B5EF4-FFF2-40B4-BE49-F238E27FC236}">
                  <a16:creationId xmlns:a16="http://schemas.microsoft.com/office/drawing/2014/main" id="{BBD3A5C2-C48C-43DE-98D0-5C3EE15729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4488" y="5595938"/>
              <a:ext cx="2190750" cy="974725"/>
            </a:xfrm>
            <a:custGeom>
              <a:avLst/>
              <a:gdLst>
                <a:gd name="T0" fmla="*/ 745 w 899"/>
                <a:gd name="T1" fmla="*/ 62 h 400"/>
                <a:gd name="T2" fmla="*/ 626 w 899"/>
                <a:gd name="T3" fmla="*/ 0 h 400"/>
                <a:gd name="T4" fmla="*/ 251 w 899"/>
                <a:gd name="T5" fmla="*/ 0 h 400"/>
                <a:gd name="T6" fmla="*/ 131 w 899"/>
                <a:gd name="T7" fmla="*/ 62 h 400"/>
                <a:gd name="T8" fmla="*/ 0 w 899"/>
                <a:gd name="T9" fmla="*/ 351 h 400"/>
                <a:gd name="T10" fmla="*/ 22 w 899"/>
                <a:gd name="T11" fmla="*/ 400 h 400"/>
                <a:gd name="T12" fmla="*/ 899 w 899"/>
                <a:gd name="T13" fmla="*/ 400 h 400"/>
                <a:gd name="T14" fmla="*/ 745 w 899"/>
                <a:gd name="T15" fmla="*/ 62 h 400"/>
                <a:gd name="T16" fmla="*/ 745 w 899"/>
                <a:gd name="T17" fmla="*/ 62 h 400"/>
                <a:gd name="T18" fmla="*/ 745 w 899"/>
                <a:gd name="T19" fmla="*/ 6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9" h="400">
                  <a:moveTo>
                    <a:pt x="745" y="62"/>
                  </a:moveTo>
                  <a:cubicBezTo>
                    <a:pt x="723" y="15"/>
                    <a:pt x="678" y="0"/>
                    <a:pt x="626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199" y="0"/>
                    <a:pt x="153" y="14"/>
                    <a:pt x="131" y="6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22" y="400"/>
                    <a:pt x="22" y="400"/>
                    <a:pt x="22" y="400"/>
                  </a:cubicBezTo>
                  <a:cubicBezTo>
                    <a:pt x="899" y="400"/>
                    <a:pt x="899" y="400"/>
                    <a:pt x="899" y="400"/>
                  </a:cubicBezTo>
                  <a:lnTo>
                    <a:pt x="745" y="62"/>
                  </a:lnTo>
                  <a:close/>
                  <a:moveTo>
                    <a:pt x="745" y="62"/>
                  </a:moveTo>
                  <a:cubicBezTo>
                    <a:pt x="745" y="62"/>
                    <a:pt x="745" y="62"/>
                    <a:pt x="745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8" name="Freeform 67">
              <a:extLst>
                <a:ext uri="{FF2B5EF4-FFF2-40B4-BE49-F238E27FC236}">
                  <a16:creationId xmlns:a16="http://schemas.microsoft.com/office/drawing/2014/main" id="{BC418C85-BC40-41AE-90D6-C5DD96D864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30725" y="4287838"/>
              <a:ext cx="1193800" cy="1193800"/>
            </a:xfrm>
            <a:custGeom>
              <a:avLst/>
              <a:gdLst>
                <a:gd name="T0" fmla="*/ 245 w 490"/>
                <a:gd name="T1" fmla="*/ 0 h 490"/>
                <a:gd name="T2" fmla="*/ 0 w 490"/>
                <a:gd name="T3" fmla="*/ 245 h 490"/>
                <a:gd name="T4" fmla="*/ 245 w 490"/>
                <a:gd name="T5" fmla="*/ 490 h 490"/>
                <a:gd name="T6" fmla="*/ 490 w 490"/>
                <a:gd name="T7" fmla="*/ 245 h 490"/>
                <a:gd name="T8" fmla="*/ 245 w 490"/>
                <a:gd name="T9" fmla="*/ 0 h 490"/>
                <a:gd name="T10" fmla="*/ 245 w 490"/>
                <a:gd name="T11" fmla="*/ 0 h 490"/>
                <a:gd name="T12" fmla="*/ 245 w 490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0" h="490">
                  <a:moveTo>
                    <a:pt x="245" y="0"/>
                  </a:moveTo>
                  <a:cubicBezTo>
                    <a:pt x="110" y="0"/>
                    <a:pt x="0" y="109"/>
                    <a:pt x="0" y="245"/>
                  </a:cubicBezTo>
                  <a:cubicBezTo>
                    <a:pt x="0" y="380"/>
                    <a:pt x="110" y="490"/>
                    <a:pt x="245" y="490"/>
                  </a:cubicBezTo>
                  <a:cubicBezTo>
                    <a:pt x="380" y="490"/>
                    <a:pt x="490" y="380"/>
                    <a:pt x="490" y="245"/>
                  </a:cubicBezTo>
                  <a:cubicBezTo>
                    <a:pt x="490" y="109"/>
                    <a:pt x="380" y="0"/>
                    <a:pt x="245" y="0"/>
                  </a:cubicBezTo>
                  <a:close/>
                  <a:moveTo>
                    <a:pt x="245" y="0"/>
                  </a:move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9" name="Freeform 68">
              <a:extLst>
                <a:ext uri="{FF2B5EF4-FFF2-40B4-BE49-F238E27FC236}">
                  <a16:creationId xmlns:a16="http://schemas.microsoft.com/office/drawing/2014/main" id="{C38DDBD5-5D25-45A9-B635-8A3CD88D9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57775" y="5595938"/>
              <a:ext cx="2193925" cy="974725"/>
            </a:xfrm>
            <a:custGeom>
              <a:avLst/>
              <a:gdLst>
                <a:gd name="T0" fmla="*/ 648 w 900"/>
                <a:gd name="T1" fmla="*/ 0 h 400"/>
                <a:gd name="T2" fmla="*/ 274 w 900"/>
                <a:gd name="T3" fmla="*/ 0 h 400"/>
                <a:gd name="T4" fmla="*/ 154 w 900"/>
                <a:gd name="T5" fmla="*/ 62 h 400"/>
                <a:gd name="T6" fmla="*/ 0 w 900"/>
                <a:gd name="T7" fmla="*/ 400 h 400"/>
                <a:gd name="T8" fmla="*/ 877 w 900"/>
                <a:gd name="T9" fmla="*/ 400 h 400"/>
                <a:gd name="T10" fmla="*/ 900 w 900"/>
                <a:gd name="T11" fmla="*/ 351 h 400"/>
                <a:gd name="T12" fmla="*/ 768 w 900"/>
                <a:gd name="T13" fmla="*/ 62 h 400"/>
                <a:gd name="T14" fmla="*/ 648 w 900"/>
                <a:gd name="T15" fmla="*/ 0 h 400"/>
                <a:gd name="T16" fmla="*/ 648 w 900"/>
                <a:gd name="T17" fmla="*/ 0 h 400"/>
                <a:gd name="T18" fmla="*/ 648 w 900"/>
                <a:gd name="T1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0" h="400">
                  <a:moveTo>
                    <a:pt x="648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221" y="0"/>
                    <a:pt x="176" y="15"/>
                    <a:pt x="154" y="62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877" y="400"/>
                    <a:pt x="877" y="400"/>
                    <a:pt x="877" y="400"/>
                  </a:cubicBezTo>
                  <a:cubicBezTo>
                    <a:pt x="900" y="351"/>
                    <a:pt x="900" y="351"/>
                    <a:pt x="900" y="351"/>
                  </a:cubicBezTo>
                  <a:cubicBezTo>
                    <a:pt x="768" y="62"/>
                    <a:pt x="768" y="62"/>
                    <a:pt x="768" y="62"/>
                  </a:cubicBezTo>
                  <a:cubicBezTo>
                    <a:pt x="746" y="14"/>
                    <a:pt x="701" y="0"/>
                    <a:pt x="648" y="0"/>
                  </a:cubicBezTo>
                  <a:close/>
                  <a:moveTo>
                    <a:pt x="648" y="0"/>
                  </a:moveTo>
                  <a:cubicBezTo>
                    <a:pt x="648" y="0"/>
                    <a:pt x="648" y="0"/>
                    <a:pt x="64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0" name="Freeform 69">
              <a:extLst>
                <a:ext uri="{FF2B5EF4-FFF2-40B4-BE49-F238E27FC236}">
                  <a16:creationId xmlns:a16="http://schemas.microsoft.com/office/drawing/2014/main" id="{195014A0-0DAF-4346-9F74-EBB1C10F5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7325" y="5595938"/>
              <a:ext cx="2246313" cy="974725"/>
            </a:xfrm>
            <a:custGeom>
              <a:avLst/>
              <a:gdLst>
                <a:gd name="T0" fmla="*/ 648 w 922"/>
                <a:gd name="T1" fmla="*/ 0 h 400"/>
                <a:gd name="T2" fmla="*/ 274 w 922"/>
                <a:gd name="T3" fmla="*/ 0 h 400"/>
                <a:gd name="T4" fmla="*/ 154 w 922"/>
                <a:gd name="T5" fmla="*/ 62 h 400"/>
                <a:gd name="T6" fmla="*/ 0 w 922"/>
                <a:gd name="T7" fmla="*/ 400 h 400"/>
                <a:gd name="T8" fmla="*/ 922 w 922"/>
                <a:gd name="T9" fmla="*/ 400 h 400"/>
                <a:gd name="T10" fmla="*/ 768 w 922"/>
                <a:gd name="T11" fmla="*/ 62 h 400"/>
                <a:gd name="T12" fmla="*/ 648 w 922"/>
                <a:gd name="T13" fmla="*/ 0 h 400"/>
                <a:gd name="T14" fmla="*/ 648 w 922"/>
                <a:gd name="T15" fmla="*/ 0 h 400"/>
                <a:gd name="T16" fmla="*/ 648 w 922"/>
                <a:gd name="T1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2" h="400">
                  <a:moveTo>
                    <a:pt x="648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221" y="0"/>
                    <a:pt x="176" y="14"/>
                    <a:pt x="154" y="62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922" y="400"/>
                    <a:pt x="922" y="400"/>
                    <a:pt x="922" y="400"/>
                  </a:cubicBezTo>
                  <a:cubicBezTo>
                    <a:pt x="768" y="62"/>
                    <a:pt x="768" y="62"/>
                    <a:pt x="768" y="62"/>
                  </a:cubicBezTo>
                  <a:cubicBezTo>
                    <a:pt x="746" y="15"/>
                    <a:pt x="701" y="0"/>
                    <a:pt x="648" y="0"/>
                  </a:cubicBezTo>
                  <a:close/>
                  <a:moveTo>
                    <a:pt x="648" y="0"/>
                  </a:moveTo>
                  <a:cubicBezTo>
                    <a:pt x="648" y="0"/>
                    <a:pt x="648" y="0"/>
                    <a:pt x="64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1" name="Freeform 70">
              <a:extLst>
                <a:ext uri="{FF2B5EF4-FFF2-40B4-BE49-F238E27FC236}">
                  <a16:creationId xmlns:a16="http://schemas.microsoft.com/office/drawing/2014/main" id="{A51BB950-7BC1-4807-8AA2-CE56443256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01863" y="4287838"/>
              <a:ext cx="1193800" cy="1193800"/>
            </a:xfrm>
            <a:custGeom>
              <a:avLst/>
              <a:gdLst>
                <a:gd name="T0" fmla="*/ 245 w 490"/>
                <a:gd name="T1" fmla="*/ 490 h 490"/>
                <a:gd name="T2" fmla="*/ 490 w 490"/>
                <a:gd name="T3" fmla="*/ 245 h 490"/>
                <a:gd name="T4" fmla="*/ 245 w 490"/>
                <a:gd name="T5" fmla="*/ 0 h 490"/>
                <a:gd name="T6" fmla="*/ 0 w 490"/>
                <a:gd name="T7" fmla="*/ 245 h 490"/>
                <a:gd name="T8" fmla="*/ 245 w 490"/>
                <a:gd name="T9" fmla="*/ 490 h 490"/>
                <a:gd name="T10" fmla="*/ 245 w 490"/>
                <a:gd name="T11" fmla="*/ 490 h 490"/>
                <a:gd name="T12" fmla="*/ 245 w 490"/>
                <a:gd name="T13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0" h="490">
                  <a:moveTo>
                    <a:pt x="245" y="490"/>
                  </a:moveTo>
                  <a:cubicBezTo>
                    <a:pt x="380" y="490"/>
                    <a:pt x="490" y="380"/>
                    <a:pt x="490" y="245"/>
                  </a:cubicBezTo>
                  <a:cubicBezTo>
                    <a:pt x="490" y="109"/>
                    <a:pt x="380" y="0"/>
                    <a:pt x="245" y="0"/>
                  </a:cubicBezTo>
                  <a:cubicBezTo>
                    <a:pt x="110" y="0"/>
                    <a:pt x="0" y="109"/>
                    <a:pt x="0" y="245"/>
                  </a:cubicBezTo>
                  <a:cubicBezTo>
                    <a:pt x="0" y="380"/>
                    <a:pt x="110" y="490"/>
                    <a:pt x="245" y="490"/>
                  </a:cubicBezTo>
                  <a:close/>
                  <a:moveTo>
                    <a:pt x="245" y="490"/>
                  </a:moveTo>
                  <a:cubicBezTo>
                    <a:pt x="245" y="490"/>
                    <a:pt x="245" y="490"/>
                    <a:pt x="245" y="49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6721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a7yFzf_0WbmN1gFkpL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58</Words>
  <Application>Microsoft Office PowerPoint</Application>
  <PresentationFormat>On-screen Show (16:9)</PresentationFormat>
  <Paragraphs>127</Paragraphs>
  <Slides>2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rial</vt:lpstr>
      <vt:lpstr>Calibri</vt:lpstr>
      <vt:lpstr>Courier New</vt:lpstr>
      <vt:lpstr>Lato Light</vt:lpstr>
      <vt:lpstr>Univers</vt:lpstr>
      <vt:lpstr>Univers </vt:lpstr>
      <vt:lpstr>Univers 57 Condensed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your attention. Questions?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e</dc:title>
  <dc:creator>Meijer,Tamar</dc:creator>
  <cp:lastModifiedBy>Violeta Misheva</cp:lastModifiedBy>
  <cp:revision>233</cp:revision>
  <dcterms:created xsi:type="dcterms:W3CDTF">2018-08-28T11:37:56Z</dcterms:created>
  <dcterms:modified xsi:type="dcterms:W3CDTF">2020-08-29T20:3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0-08-25T08:40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c2199741-90d5-4de3-9909-000013ee7ad8</vt:lpwstr>
  </property>
  <property fmtid="{D5CDD505-2E9C-101B-9397-08002B2CF9AE}" pid="8" name="MSIP_Label_0bce33f7-04c0-4596-9b71-ba8617e88451_ContentBits">
    <vt:lpwstr>0</vt:lpwstr>
  </property>
</Properties>
</file>